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notesMasterIdLst>
    <p:notesMasterId r:id="rId7"/>
  </p:notesMasterIdLst>
  <p:sldIdLst>
    <p:sldId id="258" r:id="rId6"/>
  </p:sldIdLst>
  <p:sldSz cx="10693400" cy="7562850"/>
  <p:notesSz cx="9144000" cy="6858000"/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orient="horz" pos="1181" userDrawn="1">
          <p15:clr>
            <a:srgbClr val="A4A3A4"/>
          </p15:clr>
        </p15:guide>
        <p15:guide id="5" pos="325" userDrawn="1">
          <p15:clr>
            <a:srgbClr val="A4A3A4"/>
          </p15:clr>
        </p15:guide>
        <p15:guide id="7" orient="horz" pos="4232" userDrawn="1">
          <p15:clr>
            <a:srgbClr val="A4A3A4"/>
          </p15:clr>
        </p15:guide>
        <p15:guide id="10" orient="horz" pos="2382" userDrawn="1">
          <p15:clr>
            <a:srgbClr val="A4A3A4"/>
          </p15:clr>
        </p15:guide>
        <p15:guide id="14" orient="horz" pos="281" userDrawn="1">
          <p15:clr>
            <a:srgbClr val="A4A3A4"/>
          </p15:clr>
        </p15:guide>
        <p15:guide id="17" pos="3232" userDrawn="1">
          <p15:clr>
            <a:srgbClr val="A4A3A4"/>
          </p15:clr>
        </p15:guide>
        <p15:guide id="18" pos="6272" userDrawn="1">
          <p15:clr>
            <a:srgbClr val="A4A3A4"/>
          </p15:clr>
        </p15:guide>
        <p15:guide id="19" orient="horz" pos="53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50" d="100"/>
          <a:sy n="50" d="100"/>
        </p:scale>
        <p:origin x="1480" y="264"/>
      </p:cViewPr>
      <p:guideLst>
        <p:guide orient="horz" pos="1181"/>
        <p:guide pos="325"/>
        <p:guide orient="horz" pos="4232"/>
        <p:guide orient="horz" pos="2382"/>
        <p:guide orient="horz" pos="281"/>
        <p:guide pos="3232"/>
        <p:guide pos="6272"/>
        <p:guide orient="horz" pos="532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160"/>
        <p:guide pos="288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0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79484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CD13D30-0C23-4CD0-8146-526F5F48736F}" type="datetimeFigureOut">
              <a:rPr lang="en-US" smtClean="0"/>
              <a:t>5/2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935288" y="857250"/>
            <a:ext cx="3273425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2"/>
            <a:ext cx="7315200" cy="2700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C3C870-3B2C-4C44-BF9E-FD7D1B91AF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4971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935288" y="857250"/>
            <a:ext cx="3273425" cy="2314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925587-F060-4A98-B1FD-59265DBF20E9}" type="slidenum">
              <a:rPr lang="fi-FI" smtClean="0"/>
              <a:t>1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9494028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facebook.com/kemiragroup" TargetMode="External"/><Relationship Id="rId2" Type="http://schemas.openxmlformats.org/officeDocument/2006/relationships/hyperlink" Target="http://twitter.com/kemiragroup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http://www.linkedin.com/company/7400" TargetMode="External"/><Relationship Id="rId5" Type="http://schemas.openxmlformats.org/officeDocument/2006/relationships/hyperlink" Target="https://www.instagram.com/kemiragroup/" TargetMode="External"/><Relationship Id="rId4" Type="http://schemas.openxmlformats.org/officeDocument/2006/relationships/hyperlink" Target="http://www.youtube.com/kemiragroup" TargetMode="Externa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facebook.com/kemiragroup" TargetMode="External"/><Relationship Id="rId2" Type="http://schemas.openxmlformats.org/officeDocument/2006/relationships/hyperlink" Target="http://twitter.com/kemiragroup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http://www.linkedin.com/company/7400" TargetMode="External"/><Relationship Id="rId5" Type="http://schemas.openxmlformats.org/officeDocument/2006/relationships/hyperlink" Target="https://www.instagram.com/kemiragroup/" TargetMode="External"/><Relationship Id="rId4" Type="http://schemas.openxmlformats.org/officeDocument/2006/relationships/hyperlink" Target="http://www.youtube.com/kemiragroup" TargetMode="Externa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facebook.com/kemiragroup" TargetMode="External"/><Relationship Id="rId7" Type="http://schemas.openxmlformats.org/officeDocument/2006/relationships/image" Target="../media/image3.wmf"/><Relationship Id="rId2" Type="http://schemas.openxmlformats.org/officeDocument/2006/relationships/hyperlink" Target="http://twitter.com/kemiragroup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http://www.linkedin.com/company/7400" TargetMode="External"/><Relationship Id="rId5" Type="http://schemas.openxmlformats.org/officeDocument/2006/relationships/hyperlink" Target="https://www.instagram.com/kemiragroup/" TargetMode="External"/><Relationship Id="rId4" Type="http://schemas.openxmlformats.org/officeDocument/2006/relationships/hyperlink" Target="http://www.youtube.com/kemiragroup" TargetMode="Externa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facebook.com/kemiragroup" TargetMode="External"/><Relationship Id="rId7" Type="http://schemas.openxmlformats.org/officeDocument/2006/relationships/image" Target="../media/image4.wmf"/><Relationship Id="rId2" Type="http://schemas.openxmlformats.org/officeDocument/2006/relationships/hyperlink" Target="http://twitter.com/kemiragroup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http://www.linkedin.com/company/7400" TargetMode="External"/><Relationship Id="rId5" Type="http://schemas.openxmlformats.org/officeDocument/2006/relationships/hyperlink" Target="https://www.instagram.com/kemiragroup/" TargetMode="External"/><Relationship Id="rId4" Type="http://schemas.openxmlformats.org/officeDocument/2006/relationships/hyperlink" Target="http://www.youtube.com/kemiragroup" TargetMode="Externa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hyperlink" Target="http://www.kemira.com/" TargetMode="External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6"/>
          <p:cNvSpPr>
            <a:spLocks noChangeAspect="1"/>
          </p:cNvSpPr>
          <p:nvPr/>
        </p:nvSpPr>
        <p:spPr bwMode="auto">
          <a:xfrm>
            <a:off x="7196365" y="2510884"/>
            <a:ext cx="3497036" cy="5051966"/>
          </a:xfrm>
          <a:custGeom>
            <a:avLst/>
            <a:gdLst>
              <a:gd name="T0" fmla="*/ 4222 w 4222"/>
              <a:gd name="T1" fmla="*/ 36 h 4851"/>
              <a:gd name="T2" fmla="*/ 3663 w 4222"/>
              <a:gd name="T3" fmla="*/ 678 h 4851"/>
              <a:gd name="T4" fmla="*/ 3103 w 4222"/>
              <a:gd name="T5" fmla="*/ 1322 h 4851"/>
              <a:gd name="T6" fmla="*/ 2544 w 4222"/>
              <a:gd name="T7" fmla="*/ 1964 h 4851"/>
              <a:gd name="T8" fmla="*/ 1984 w 4222"/>
              <a:gd name="T9" fmla="*/ 2608 h 4851"/>
              <a:gd name="T10" fmla="*/ 1988 w 4222"/>
              <a:gd name="T11" fmla="*/ 2606 h 4851"/>
              <a:gd name="T12" fmla="*/ 2314 w 4222"/>
              <a:gd name="T13" fmla="*/ 3167 h 4851"/>
              <a:gd name="T14" fmla="*/ 2639 w 4222"/>
              <a:gd name="T15" fmla="*/ 3728 h 4851"/>
              <a:gd name="T16" fmla="*/ 2964 w 4222"/>
              <a:gd name="T17" fmla="*/ 4290 h 4851"/>
              <a:gd name="T18" fmla="*/ 3289 w 4222"/>
              <a:gd name="T19" fmla="*/ 4851 h 4851"/>
              <a:gd name="T20" fmla="*/ 3261 w 4222"/>
              <a:gd name="T21" fmla="*/ 4851 h 4851"/>
              <a:gd name="T22" fmla="*/ 2938 w 4222"/>
              <a:gd name="T23" fmla="*/ 4294 h 4851"/>
              <a:gd name="T24" fmla="*/ 2616 w 4222"/>
              <a:gd name="T25" fmla="*/ 3736 h 4851"/>
              <a:gd name="T26" fmla="*/ 2293 w 4222"/>
              <a:gd name="T27" fmla="*/ 3179 h 4851"/>
              <a:gd name="T28" fmla="*/ 1970 w 4222"/>
              <a:gd name="T29" fmla="*/ 2623 h 4851"/>
              <a:gd name="T30" fmla="*/ 1485 w 4222"/>
              <a:gd name="T31" fmla="*/ 3179 h 4851"/>
              <a:gd name="T32" fmla="*/ 1001 w 4222"/>
              <a:gd name="T33" fmla="*/ 3736 h 4851"/>
              <a:gd name="T34" fmla="*/ 516 w 4222"/>
              <a:gd name="T35" fmla="*/ 4294 h 4851"/>
              <a:gd name="T36" fmla="*/ 32 w 4222"/>
              <a:gd name="T37" fmla="*/ 4851 h 4851"/>
              <a:gd name="T38" fmla="*/ 0 w 4222"/>
              <a:gd name="T39" fmla="*/ 4851 h 4851"/>
              <a:gd name="T40" fmla="*/ 527 w 4222"/>
              <a:gd name="T41" fmla="*/ 4245 h 4851"/>
              <a:gd name="T42" fmla="*/ 1055 w 4222"/>
              <a:gd name="T43" fmla="*/ 3638 h 4851"/>
              <a:gd name="T44" fmla="*/ 1582 w 4222"/>
              <a:gd name="T45" fmla="*/ 3032 h 4851"/>
              <a:gd name="T46" fmla="*/ 2111 w 4222"/>
              <a:gd name="T47" fmla="*/ 2426 h 4851"/>
              <a:gd name="T48" fmla="*/ 2638 w 4222"/>
              <a:gd name="T49" fmla="*/ 1819 h 4851"/>
              <a:gd name="T50" fmla="*/ 3166 w 4222"/>
              <a:gd name="T51" fmla="*/ 1213 h 4851"/>
              <a:gd name="T52" fmla="*/ 3694 w 4222"/>
              <a:gd name="T53" fmla="*/ 606 h 4851"/>
              <a:gd name="T54" fmla="*/ 4222 w 4222"/>
              <a:gd name="T55" fmla="*/ 0 h 4851"/>
              <a:gd name="T56" fmla="*/ 4222 w 4222"/>
              <a:gd name="T57" fmla="*/ 36 h 48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4222" h="4851">
                <a:moveTo>
                  <a:pt x="4222" y="36"/>
                </a:moveTo>
                <a:lnTo>
                  <a:pt x="3663" y="678"/>
                </a:lnTo>
                <a:lnTo>
                  <a:pt x="3103" y="1322"/>
                </a:lnTo>
                <a:lnTo>
                  <a:pt x="2544" y="1964"/>
                </a:lnTo>
                <a:lnTo>
                  <a:pt x="1984" y="2608"/>
                </a:lnTo>
                <a:lnTo>
                  <a:pt x="1988" y="2606"/>
                </a:lnTo>
                <a:lnTo>
                  <a:pt x="2314" y="3167"/>
                </a:lnTo>
                <a:lnTo>
                  <a:pt x="2639" y="3728"/>
                </a:lnTo>
                <a:lnTo>
                  <a:pt x="2964" y="4290"/>
                </a:lnTo>
                <a:lnTo>
                  <a:pt x="3289" y="4851"/>
                </a:lnTo>
                <a:lnTo>
                  <a:pt x="3261" y="4851"/>
                </a:lnTo>
                <a:lnTo>
                  <a:pt x="2938" y="4294"/>
                </a:lnTo>
                <a:lnTo>
                  <a:pt x="2616" y="3736"/>
                </a:lnTo>
                <a:lnTo>
                  <a:pt x="2293" y="3179"/>
                </a:lnTo>
                <a:lnTo>
                  <a:pt x="1970" y="2623"/>
                </a:lnTo>
                <a:lnTo>
                  <a:pt x="1485" y="3179"/>
                </a:lnTo>
                <a:lnTo>
                  <a:pt x="1001" y="3736"/>
                </a:lnTo>
                <a:lnTo>
                  <a:pt x="516" y="4294"/>
                </a:lnTo>
                <a:lnTo>
                  <a:pt x="32" y="4851"/>
                </a:lnTo>
                <a:lnTo>
                  <a:pt x="0" y="4851"/>
                </a:lnTo>
                <a:lnTo>
                  <a:pt x="527" y="4245"/>
                </a:lnTo>
                <a:lnTo>
                  <a:pt x="1055" y="3638"/>
                </a:lnTo>
                <a:lnTo>
                  <a:pt x="1582" y="3032"/>
                </a:lnTo>
                <a:lnTo>
                  <a:pt x="2111" y="2426"/>
                </a:lnTo>
                <a:lnTo>
                  <a:pt x="2638" y="1819"/>
                </a:lnTo>
                <a:lnTo>
                  <a:pt x="3166" y="1213"/>
                </a:lnTo>
                <a:lnTo>
                  <a:pt x="3694" y="606"/>
                </a:lnTo>
                <a:lnTo>
                  <a:pt x="4222" y="0"/>
                </a:lnTo>
                <a:lnTo>
                  <a:pt x="4222" y="36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80201" tIns="40100" rIns="80201" bIns="40100" numCol="1" anchor="t" anchorCtr="0" compatLnSpc="1">
            <a:prstTxWarp prst="textNoShape">
              <a:avLst/>
            </a:prstTxWarp>
          </a:bodyPr>
          <a:lstStyle/>
          <a:p>
            <a:endParaRPr lang="en-GB" sz="1579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36563" y="1637387"/>
            <a:ext cx="9220274" cy="4129259"/>
          </a:xfrm>
        </p:spPr>
        <p:txBody>
          <a:bodyPr anchor="ctr" anchorCtr="0"/>
          <a:lstStyle>
            <a:lvl1pPr algn="l">
              <a:lnSpc>
                <a:spcPct val="80000"/>
              </a:lnSpc>
              <a:defRPr sz="7017" spc="-263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36563" y="5766673"/>
            <a:ext cx="9220274" cy="952359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228" b="1" cap="all" spc="88" baseline="0"/>
            </a:lvl1pPr>
            <a:lvl2pPr marL="401010" indent="0" algn="ctr">
              <a:buNone/>
              <a:defRPr sz="1754"/>
            </a:lvl2pPr>
            <a:lvl3pPr marL="802020" indent="0" algn="ctr">
              <a:buNone/>
              <a:defRPr sz="1579"/>
            </a:lvl3pPr>
            <a:lvl4pPr marL="1203030" indent="0" algn="ctr">
              <a:buNone/>
              <a:defRPr sz="1403"/>
            </a:lvl4pPr>
            <a:lvl5pPr marL="1604040" indent="0" algn="ctr">
              <a:buNone/>
              <a:defRPr sz="1403"/>
            </a:lvl5pPr>
            <a:lvl6pPr marL="2005051" indent="0" algn="ctr">
              <a:buNone/>
              <a:defRPr sz="1403"/>
            </a:lvl6pPr>
            <a:lvl7pPr marL="2406061" indent="0" algn="ctr">
              <a:buNone/>
              <a:defRPr sz="1403"/>
            </a:lvl7pPr>
            <a:lvl8pPr marL="2807071" indent="0" algn="ctr">
              <a:buNone/>
              <a:defRPr sz="1403"/>
            </a:lvl8pPr>
            <a:lvl9pPr marL="3208081" indent="0" algn="ctr">
              <a:buNone/>
              <a:defRPr sz="1403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C86F3D1-0B8D-4A4B-BA3D-ED563D22DE42}" type="datetime1">
              <a:rPr lang="fi-FI" smtClean="0"/>
              <a:t>22.5.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LASSIFICATION  /  PRESENTATION  / 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9B8CDF1A-3CDE-4195-AF23-CDCF2878DEB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736565" y="446420"/>
            <a:ext cx="9220272" cy="1190449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228" b="0" cap="all" spc="88" baseline="0"/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 dirty="0"/>
              <a:t>CLICK TO ADD DATE, PLACE AND AUTHOR</a:t>
            </a:r>
          </a:p>
        </p:txBody>
      </p:sp>
    </p:spTree>
    <p:extLst>
      <p:ext uri="{BB962C8B-B14F-4D97-AF65-F5344CB8AC3E}">
        <p14:creationId xmlns:p14="http://schemas.microsoft.com/office/powerpoint/2010/main" val="2420703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PIC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2CA81C01-161C-4DB2-830B-50323B52470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841270" y="922599"/>
            <a:ext cx="5852130" cy="5717655"/>
          </a:xfrm>
          <a:noFill/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6564" y="446420"/>
            <a:ext cx="6062748" cy="397399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228" b="1" cap="all" spc="88" baseline="0">
                <a:solidFill>
                  <a:schemeClr val="tx1"/>
                </a:solidFill>
              </a:defRPr>
            </a:lvl1pPr>
            <a:lvl2pPr marL="401010" indent="0">
              <a:buNone/>
              <a:defRPr sz="1754">
                <a:solidFill>
                  <a:schemeClr val="tx1">
                    <a:tint val="75000"/>
                  </a:schemeClr>
                </a:solidFill>
              </a:defRPr>
            </a:lvl2pPr>
            <a:lvl3pPr marL="802020" indent="0">
              <a:buNone/>
              <a:defRPr sz="1579">
                <a:solidFill>
                  <a:schemeClr val="tx1">
                    <a:tint val="75000"/>
                  </a:schemeClr>
                </a:solidFill>
              </a:defRPr>
            </a:lvl3pPr>
            <a:lvl4pPr marL="1203030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4pPr>
            <a:lvl5pPr marL="1604040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5pPr>
            <a:lvl6pPr marL="200505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6pPr>
            <a:lvl7pPr marL="240606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7pPr>
            <a:lvl8pPr marL="280707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8pPr>
            <a:lvl9pPr marL="320808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433390-677F-4074-BC35-5EBAA1615A98}" type="datetime1">
              <a:rPr lang="fi-FI" smtClean="0"/>
              <a:t>22.5.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LASSIFICATION  /  PRESENTATION  / 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8CDF1A-3CDE-4195-AF23-CDCF2878DEB5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736564" y="1160934"/>
            <a:ext cx="6062747" cy="5082165"/>
          </a:xfrm>
        </p:spPr>
        <p:txBody>
          <a:bodyPr anchor="ctr" anchorCtr="0"/>
          <a:lstStyle>
            <a:lvl1pPr algn="l">
              <a:lnSpc>
                <a:spcPct val="80000"/>
              </a:lnSpc>
              <a:defRPr sz="7017" spc="-263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2449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PIC Half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5346700" y="1"/>
            <a:ext cx="5346700" cy="6719031"/>
          </a:xfrm>
          <a:noFill/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6564" y="446420"/>
            <a:ext cx="6062748" cy="397399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228" b="1" cap="all" spc="88" baseline="0">
                <a:solidFill>
                  <a:schemeClr val="tx1"/>
                </a:solidFill>
              </a:defRPr>
            </a:lvl1pPr>
            <a:lvl2pPr marL="401010" indent="0">
              <a:buNone/>
              <a:defRPr sz="1754">
                <a:solidFill>
                  <a:schemeClr val="tx1">
                    <a:tint val="75000"/>
                  </a:schemeClr>
                </a:solidFill>
              </a:defRPr>
            </a:lvl2pPr>
            <a:lvl3pPr marL="802020" indent="0">
              <a:buNone/>
              <a:defRPr sz="1579">
                <a:solidFill>
                  <a:schemeClr val="tx1">
                    <a:tint val="75000"/>
                  </a:schemeClr>
                </a:solidFill>
              </a:defRPr>
            </a:lvl3pPr>
            <a:lvl4pPr marL="1203030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4pPr>
            <a:lvl5pPr marL="1604040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5pPr>
            <a:lvl6pPr marL="200505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6pPr>
            <a:lvl7pPr marL="240606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7pPr>
            <a:lvl8pPr marL="280707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8pPr>
            <a:lvl9pPr marL="320808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433390-677F-4074-BC35-5EBAA1615A98}" type="datetime1">
              <a:rPr lang="fi-FI" smtClean="0"/>
              <a:t>22.5.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LASSIFICATION  /  PRESENTATION  / 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8CDF1A-3CDE-4195-AF23-CDCF2878DEB5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736564" y="1160934"/>
            <a:ext cx="6062747" cy="5082165"/>
          </a:xfrm>
        </p:spPr>
        <p:txBody>
          <a:bodyPr anchor="ctr" anchorCtr="0"/>
          <a:lstStyle>
            <a:lvl1pPr algn="l">
              <a:lnSpc>
                <a:spcPct val="80000"/>
              </a:lnSpc>
              <a:defRPr sz="7017" spc="-263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8798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Two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4778287" y="1"/>
            <a:ext cx="5915113" cy="7562850"/>
          </a:xfrm>
          <a:noFill/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736564" y="843299"/>
            <a:ext cx="4736250" cy="5876255"/>
          </a:xfrm>
          <a:noFill/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51ECD2-261F-449E-B0CD-F50645A57004}" type="datetime1">
              <a:rPr lang="fi-FI" smtClean="0"/>
              <a:t>22.5.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LASSIFICATION  /  PRESENTATION  / 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8CDF1A-3CDE-4195-AF23-CDCF2878DEB5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1052023" y="2510884"/>
            <a:ext cx="5557491" cy="971676"/>
          </a:xfrm>
        </p:spPr>
        <p:txBody>
          <a:bodyPr anchor="t" anchorCtr="0">
            <a:spAutoFit/>
          </a:bodyPr>
          <a:lstStyle>
            <a:lvl1pPr algn="l">
              <a:lnSpc>
                <a:spcPct val="90000"/>
              </a:lnSpc>
              <a:defRPr sz="3508" spc="-88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1052023" y="4893395"/>
            <a:ext cx="5557817" cy="1508768"/>
          </a:xfrm>
        </p:spPr>
        <p:txBody>
          <a:bodyPr anchor="t" anchorCtr="0"/>
          <a:lstStyle>
            <a:lvl1pPr marL="0" indent="0">
              <a:spcBef>
                <a:spcPts val="526"/>
              </a:spcBef>
              <a:buNone/>
              <a:defRPr sz="1403" b="0" cap="none" spc="0" baseline="0">
                <a:solidFill>
                  <a:schemeClr val="tx1"/>
                </a:solidFill>
              </a:defRPr>
            </a:lvl1pPr>
            <a:lvl2pPr marL="401010" indent="0">
              <a:buNone/>
              <a:defRPr sz="1754">
                <a:solidFill>
                  <a:schemeClr val="tx1">
                    <a:tint val="75000"/>
                  </a:schemeClr>
                </a:solidFill>
              </a:defRPr>
            </a:lvl2pPr>
            <a:lvl3pPr marL="802020" indent="0">
              <a:buNone/>
              <a:defRPr sz="1579">
                <a:solidFill>
                  <a:schemeClr val="tx1">
                    <a:tint val="75000"/>
                  </a:schemeClr>
                </a:solidFill>
              </a:defRPr>
            </a:lvl3pPr>
            <a:lvl4pPr marL="1203030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4pPr>
            <a:lvl5pPr marL="1604040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5pPr>
            <a:lvl6pPr marL="200505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6pPr>
            <a:lvl7pPr marL="240606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7pPr>
            <a:lvl8pPr marL="280707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8pPr>
            <a:lvl9pPr marL="320808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2483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Two PIC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5915113" cy="7562850"/>
          </a:xfrm>
          <a:noFill/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5220587" y="843299"/>
            <a:ext cx="4736250" cy="5876255"/>
          </a:xfrm>
          <a:noFill/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51ECD2-261F-449E-B0CD-F50645A57004}" type="datetime1">
              <a:rPr lang="fi-FI" smtClean="0"/>
              <a:t>22.5.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LASSIFICATION  /  PRESENTATION  / 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8CDF1A-3CDE-4195-AF23-CDCF2878DEB5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083821" y="2510884"/>
            <a:ext cx="5557230" cy="971676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90000"/>
              </a:lnSpc>
              <a:defRPr sz="3508" spc="-88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4083821" y="4893395"/>
            <a:ext cx="5557556" cy="1508768"/>
          </a:xfrm>
        </p:spPr>
        <p:txBody>
          <a:bodyPr anchor="t" anchorCtr="0"/>
          <a:lstStyle>
            <a:lvl1pPr marL="0" indent="0" algn="l">
              <a:spcBef>
                <a:spcPts val="526"/>
              </a:spcBef>
              <a:buNone/>
              <a:defRPr sz="1403" b="0" cap="none" spc="0" baseline="0">
                <a:solidFill>
                  <a:schemeClr val="tx1"/>
                </a:solidFill>
              </a:defRPr>
            </a:lvl1pPr>
            <a:lvl2pPr marL="401010" indent="0">
              <a:buNone/>
              <a:defRPr sz="1754">
                <a:solidFill>
                  <a:schemeClr val="tx1">
                    <a:tint val="75000"/>
                  </a:schemeClr>
                </a:solidFill>
              </a:defRPr>
            </a:lvl2pPr>
            <a:lvl3pPr marL="802020" indent="0">
              <a:buNone/>
              <a:defRPr sz="1579">
                <a:solidFill>
                  <a:schemeClr val="tx1">
                    <a:tint val="75000"/>
                  </a:schemeClr>
                </a:solidFill>
              </a:defRPr>
            </a:lvl3pPr>
            <a:lvl4pPr marL="1203030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4pPr>
            <a:lvl5pPr marL="1604040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5pPr>
            <a:lvl6pPr marL="200505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6pPr>
            <a:lvl7pPr marL="240606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7pPr>
            <a:lvl8pPr marL="280707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8pPr>
            <a:lvl9pPr marL="320808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Picture Placeholder 14" descr="dont touch/move" title="Kemira Logo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736564" y="7127331"/>
            <a:ext cx="631500" cy="14841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i-FI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0192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duct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5346700" cy="75628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25425" y="4734330"/>
            <a:ext cx="4218263" cy="1984701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579" b="0" cap="none" spc="0" baseline="0">
                <a:solidFill>
                  <a:schemeClr val="tx1"/>
                </a:solidFill>
              </a:defRPr>
            </a:lvl1pPr>
            <a:lvl2pPr marL="401010" indent="0">
              <a:buNone/>
              <a:defRPr sz="1754">
                <a:solidFill>
                  <a:schemeClr val="tx1">
                    <a:tint val="75000"/>
                  </a:schemeClr>
                </a:solidFill>
              </a:defRPr>
            </a:lvl2pPr>
            <a:lvl3pPr marL="802020" indent="0">
              <a:buNone/>
              <a:defRPr sz="1579">
                <a:solidFill>
                  <a:schemeClr val="tx1">
                    <a:tint val="75000"/>
                  </a:schemeClr>
                </a:solidFill>
              </a:defRPr>
            </a:lvl3pPr>
            <a:lvl4pPr marL="1203030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4pPr>
            <a:lvl5pPr marL="1604040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5pPr>
            <a:lvl6pPr marL="200505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6pPr>
            <a:lvl7pPr marL="240606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7pPr>
            <a:lvl8pPr marL="280707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8pPr>
            <a:lvl9pPr marL="320808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60F8F3-BC91-4EBE-8C81-1251402FCEC2}" type="datetime1">
              <a:rPr lang="fi-FI" smtClean="0"/>
              <a:t>22.5.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LASSIFICATION  /  PRESENTATION  / 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8CDF1A-3CDE-4195-AF23-CDCF2878DEB5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5725425" y="1874956"/>
            <a:ext cx="4231413" cy="2859375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263" spc="-263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Picture Placeholder 14" descr="dont touch/move" title="Kemira Logo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736564" y="7127331"/>
            <a:ext cx="631500" cy="14841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i-FI"/>
              <a:t> 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5"/>
          </p:nvPr>
        </p:nvSpPr>
        <p:spPr>
          <a:xfrm>
            <a:off x="5725425" y="446419"/>
            <a:ext cx="4231413" cy="882325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228" b="1" cap="all" spc="88" baseline="0">
                <a:solidFill>
                  <a:schemeClr val="tx1"/>
                </a:solidFill>
              </a:defRPr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0197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duction Ne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5346700" cy="75628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25425" y="4734330"/>
            <a:ext cx="4218263" cy="1984701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579" b="0" cap="none" spc="0" baseline="0">
                <a:solidFill>
                  <a:schemeClr val="tx1"/>
                </a:solidFill>
              </a:defRPr>
            </a:lvl1pPr>
            <a:lvl2pPr marL="401010" indent="0">
              <a:buNone/>
              <a:defRPr sz="1754">
                <a:solidFill>
                  <a:schemeClr val="tx1">
                    <a:tint val="75000"/>
                  </a:schemeClr>
                </a:solidFill>
              </a:defRPr>
            </a:lvl2pPr>
            <a:lvl3pPr marL="802020" indent="0">
              <a:buNone/>
              <a:defRPr sz="1579">
                <a:solidFill>
                  <a:schemeClr val="tx1">
                    <a:tint val="75000"/>
                  </a:schemeClr>
                </a:solidFill>
              </a:defRPr>
            </a:lvl3pPr>
            <a:lvl4pPr marL="1203030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4pPr>
            <a:lvl5pPr marL="1604040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5pPr>
            <a:lvl6pPr marL="200505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6pPr>
            <a:lvl7pPr marL="240606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7pPr>
            <a:lvl8pPr marL="280707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8pPr>
            <a:lvl9pPr marL="320808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1E2C0D-EC16-4469-A61B-2B4C5E3683C0}" type="datetime1">
              <a:rPr lang="fi-FI" smtClean="0"/>
              <a:t>22.5.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ASSIFICATION  /  PRESENTATION  /  AUTHOR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8CDF1A-3CDE-4195-AF23-CDCF2878DEB5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5725425" y="1874956"/>
            <a:ext cx="4231413" cy="2859375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263" spc="-263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5"/>
          </p:nvPr>
        </p:nvSpPr>
        <p:spPr>
          <a:xfrm>
            <a:off x="5725425" y="446419"/>
            <a:ext cx="4231413" cy="882325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228" b="1" cap="all" spc="88" baseline="0">
                <a:solidFill>
                  <a:schemeClr val="tx1"/>
                </a:solidFill>
              </a:defRPr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Picture Placeholder 14" descr="dont touch/move" title="Kemira Logo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736564" y="7127331"/>
            <a:ext cx="631500" cy="14841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i-FI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20130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roduction 2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5346700" y="1"/>
            <a:ext cx="5346700" cy="75628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7169" y="4734330"/>
            <a:ext cx="4217427" cy="1984701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579" b="0" cap="none" spc="0" baseline="0">
                <a:solidFill>
                  <a:schemeClr val="tx1"/>
                </a:solidFill>
              </a:defRPr>
            </a:lvl1pPr>
            <a:lvl2pPr marL="401010" indent="0">
              <a:buNone/>
              <a:defRPr sz="1754">
                <a:solidFill>
                  <a:schemeClr val="tx1">
                    <a:tint val="75000"/>
                  </a:schemeClr>
                </a:solidFill>
              </a:defRPr>
            </a:lvl2pPr>
            <a:lvl3pPr marL="802020" indent="0">
              <a:buNone/>
              <a:defRPr sz="1579">
                <a:solidFill>
                  <a:schemeClr val="tx1">
                    <a:tint val="75000"/>
                  </a:schemeClr>
                </a:solidFill>
              </a:defRPr>
            </a:lvl3pPr>
            <a:lvl4pPr marL="1203030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4pPr>
            <a:lvl5pPr marL="1604040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5pPr>
            <a:lvl6pPr marL="200505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6pPr>
            <a:lvl7pPr marL="240606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7pPr>
            <a:lvl8pPr marL="280707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8pPr>
            <a:lvl9pPr marL="320808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F68FBD-CED2-468B-952B-C762F89D2D37}" type="datetime1">
              <a:rPr lang="fi-FI" smtClean="0"/>
              <a:t>22.5.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LASSIFICATION  /  PRESENTATION  / 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8CDF1A-3CDE-4195-AF23-CDCF2878DEB5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736564" y="1874956"/>
            <a:ext cx="4231412" cy="2859375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263" spc="-263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Picture Placeholder 14" descr="dont touch/move" title="Kemira Logo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736564" y="7127331"/>
            <a:ext cx="631500" cy="14841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i-FI"/>
              <a:t> 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5"/>
          </p:nvPr>
        </p:nvSpPr>
        <p:spPr>
          <a:xfrm>
            <a:off x="736564" y="446419"/>
            <a:ext cx="4231412" cy="882325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228" b="1" cap="all" spc="88" baseline="0">
                <a:solidFill>
                  <a:schemeClr val="tx1"/>
                </a:solidFill>
              </a:defRPr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00596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5171" y="1874957"/>
            <a:ext cx="4485215" cy="4844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73014" y="1874957"/>
            <a:ext cx="4485215" cy="4844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5B880B-2557-477C-8541-63828A94F70D}" type="datetime1">
              <a:rPr lang="fi-FI" smtClean="0"/>
              <a:t>22.5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LASSIFICATION  /  PRESENTATION  / 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8CDF1A-3CDE-4195-AF23-CDCF2878DE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1446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hree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5171" y="1874957"/>
            <a:ext cx="2906289" cy="4844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94089" y="1874957"/>
            <a:ext cx="2905223" cy="4844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14BB2-B4B5-4BCE-9AC5-D8DC16E89063}" type="datetime1">
              <a:rPr lang="fi-FI" smtClean="0"/>
              <a:t>22.5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LASSIFICATION  /  PRESENTATION  / 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8CDF1A-3CDE-4195-AF23-CDCF2878DEB5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2"/>
          <p:cNvSpPr>
            <a:spLocks noGrp="1"/>
          </p:cNvSpPr>
          <p:nvPr>
            <p:ph sz="half" idx="13"/>
          </p:nvPr>
        </p:nvSpPr>
        <p:spPr>
          <a:xfrm>
            <a:off x="7051939" y="1874957"/>
            <a:ext cx="2904897" cy="4844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21339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36565" y="1874958"/>
            <a:ext cx="4483821" cy="55651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403" b="1" cap="none" baseline="0"/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6565" y="2431476"/>
            <a:ext cx="4483822" cy="42875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473014" y="1874958"/>
            <a:ext cx="4486608" cy="55651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403" b="1" cap="none" baseline="0"/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73014" y="2431476"/>
            <a:ext cx="4486608" cy="42875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A978D1-1421-4199-A489-95FEF1E2CF04}" type="datetime1">
              <a:rPr lang="fi-FI" smtClean="0"/>
              <a:t>22.5.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LASSIFICATION  /  PRESENTATION  / 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8CDF1A-3CDE-4195-AF23-CDCF2878DEB5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idx="13"/>
          </p:nvPr>
        </p:nvSpPr>
        <p:spPr>
          <a:xfrm>
            <a:off x="736565" y="446419"/>
            <a:ext cx="9220272" cy="397399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228" b="1" cap="all" spc="88" baseline="0"/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5171" y="843818"/>
            <a:ext cx="9221666" cy="79356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1457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PIC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0693400" cy="756285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0065147" y="4753769"/>
                </a:moveTo>
                <a:lnTo>
                  <a:pt x="10217547" y="5016500"/>
                </a:lnTo>
                <a:lnTo>
                  <a:pt x="10369550" y="5279628"/>
                </a:lnTo>
                <a:lnTo>
                  <a:pt x="10521950" y="5542360"/>
                </a:lnTo>
                <a:lnTo>
                  <a:pt x="10674350" y="5805885"/>
                </a:lnTo>
                <a:lnTo>
                  <a:pt x="10826354" y="6068616"/>
                </a:lnTo>
                <a:lnTo>
                  <a:pt x="10979150" y="6331744"/>
                </a:lnTo>
                <a:lnTo>
                  <a:pt x="11131154" y="6594872"/>
                </a:lnTo>
                <a:lnTo>
                  <a:pt x="11283950" y="6858000"/>
                </a:lnTo>
                <a:lnTo>
                  <a:pt x="8234363" y="6858000"/>
                </a:lnTo>
                <a:lnTo>
                  <a:pt x="8462963" y="6594872"/>
                </a:lnTo>
                <a:lnTo>
                  <a:pt x="8691959" y="6331744"/>
                </a:lnTo>
                <a:lnTo>
                  <a:pt x="8920560" y="6068616"/>
                </a:lnTo>
                <a:lnTo>
                  <a:pt x="9149556" y="5805885"/>
                </a:lnTo>
                <a:lnTo>
                  <a:pt x="9378156" y="5542360"/>
                </a:lnTo>
                <a:lnTo>
                  <a:pt x="9607550" y="5279628"/>
                </a:lnTo>
                <a:lnTo>
                  <a:pt x="9836150" y="50165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309747" y="6858000"/>
                </a:lnTo>
                <a:lnTo>
                  <a:pt x="11156157" y="6592491"/>
                </a:lnTo>
                <a:lnTo>
                  <a:pt x="11002566" y="6327378"/>
                </a:lnTo>
                <a:lnTo>
                  <a:pt x="10849372" y="6062266"/>
                </a:lnTo>
                <a:lnTo>
                  <a:pt x="10695782" y="5797153"/>
                </a:lnTo>
                <a:lnTo>
                  <a:pt x="10542191" y="5532041"/>
                </a:lnTo>
                <a:lnTo>
                  <a:pt x="10388600" y="5266928"/>
                </a:lnTo>
                <a:lnTo>
                  <a:pt x="10235010" y="5001816"/>
                </a:lnTo>
                <a:lnTo>
                  <a:pt x="10081816" y="4736703"/>
                </a:lnTo>
                <a:lnTo>
                  <a:pt x="10077450" y="4739878"/>
                </a:lnTo>
                <a:lnTo>
                  <a:pt x="10341769" y="4435872"/>
                </a:lnTo>
                <a:lnTo>
                  <a:pt x="10605691" y="4132660"/>
                </a:lnTo>
                <a:lnTo>
                  <a:pt x="10870010" y="3828653"/>
                </a:lnTo>
                <a:lnTo>
                  <a:pt x="11133932" y="3525441"/>
                </a:lnTo>
                <a:lnTo>
                  <a:pt x="11398250" y="3221435"/>
                </a:lnTo>
                <a:lnTo>
                  <a:pt x="11662172" y="2918222"/>
                </a:lnTo>
                <a:lnTo>
                  <a:pt x="11926491" y="2614216"/>
                </a:lnTo>
                <a:lnTo>
                  <a:pt x="12190413" y="2311003"/>
                </a:lnTo>
                <a:lnTo>
                  <a:pt x="12190413" y="2276475"/>
                </a:lnTo>
                <a:lnTo>
                  <a:pt x="11941176" y="2563019"/>
                </a:lnTo>
                <a:lnTo>
                  <a:pt x="11691938" y="2849166"/>
                </a:lnTo>
                <a:lnTo>
                  <a:pt x="11442700" y="3135710"/>
                </a:lnTo>
                <a:lnTo>
                  <a:pt x="11193463" y="3421856"/>
                </a:lnTo>
                <a:lnTo>
                  <a:pt x="10944226" y="3708400"/>
                </a:lnTo>
                <a:lnTo>
                  <a:pt x="10694988" y="3994547"/>
                </a:lnTo>
                <a:lnTo>
                  <a:pt x="10446147" y="4281091"/>
                </a:lnTo>
                <a:lnTo>
                  <a:pt x="10197306" y="4567238"/>
                </a:lnTo>
                <a:lnTo>
                  <a:pt x="9947672" y="4853781"/>
                </a:lnTo>
                <a:lnTo>
                  <a:pt x="9698832" y="5139928"/>
                </a:lnTo>
                <a:lnTo>
                  <a:pt x="9449594" y="5426472"/>
                </a:lnTo>
                <a:lnTo>
                  <a:pt x="9200753" y="5712619"/>
                </a:lnTo>
                <a:lnTo>
                  <a:pt x="8951119" y="5999163"/>
                </a:lnTo>
                <a:lnTo>
                  <a:pt x="8702278" y="6285310"/>
                </a:lnTo>
                <a:lnTo>
                  <a:pt x="8453041" y="6571853"/>
                </a:lnTo>
                <a:lnTo>
                  <a:pt x="82042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14" descr="dont touch/move" title="Kemira Logo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736564" y="7127331"/>
            <a:ext cx="631500" cy="14841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i-FI"/>
              <a:t>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7407057-8790-4C9B-B752-564D11966AD1}" type="datetime1">
              <a:rPr lang="fi-FI" smtClean="0"/>
              <a:t>22.5.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LASSIFICATION  /  PRESENTATION  /  AUTHO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9B8CDF1A-3CDE-4195-AF23-CDCF2878DEB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736564" y="5766673"/>
            <a:ext cx="9220273" cy="952359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228" b="1" cap="all" spc="88" baseline="0"/>
            </a:lvl1pPr>
            <a:lvl2pPr marL="401010" indent="0" algn="ctr">
              <a:buNone/>
              <a:defRPr sz="1754"/>
            </a:lvl2pPr>
            <a:lvl3pPr marL="802020" indent="0" algn="ctr">
              <a:buNone/>
              <a:defRPr sz="1579"/>
            </a:lvl3pPr>
            <a:lvl4pPr marL="1203030" indent="0" algn="ctr">
              <a:buNone/>
              <a:defRPr sz="1403"/>
            </a:lvl4pPr>
            <a:lvl5pPr marL="1604040" indent="0" algn="ctr">
              <a:buNone/>
              <a:defRPr sz="1403"/>
            </a:lvl5pPr>
            <a:lvl6pPr marL="2005051" indent="0" algn="ctr">
              <a:buNone/>
              <a:defRPr sz="1403"/>
            </a:lvl6pPr>
            <a:lvl7pPr marL="2406061" indent="0" algn="ctr">
              <a:buNone/>
              <a:defRPr sz="1403"/>
            </a:lvl7pPr>
            <a:lvl8pPr marL="2807071" indent="0" algn="ctr">
              <a:buNone/>
              <a:defRPr sz="1403"/>
            </a:lvl8pPr>
            <a:lvl9pPr marL="3208081" indent="0" algn="ctr">
              <a:buNone/>
              <a:defRPr sz="1403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Title 1"/>
          <p:cNvSpPr>
            <a:spLocks noGrp="1"/>
          </p:cNvSpPr>
          <p:nvPr>
            <p:ph type="ctrTitle"/>
          </p:nvPr>
        </p:nvSpPr>
        <p:spPr>
          <a:xfrm>
            <a:off x="736564" y="1637386"/>
            <a:ext cx="9220273" cy="4129260"/>
          </a:xfrm>
        </p:spPr>
        <p:txBody>
          <a:bodyPr anchor="ctr" anchorCtr="0"/>
          <a:lstStyle>
            <a:lvl1pPr algn="l">
              <a:lnSpc>
                <a:spcPct val="80000"/>
              </a:lnSpc>
              <a:defRPr sz="7017" spc="-263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23" hasCustomPrompt="1"/>
          </p:nvPr>
        </p:nvSpPr>
        <p:spPr>
          <a:xfrm>
            <a:off x="736565" y="446420"/>
            <a:ext cx="9220272" cy="1190449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228" b="0" cap="all" spc="88" baseline="0"/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 dirty="0"/>
              <a:t>CLICK TO ADD DATE, PLACE AND AUTHOR</a:t>
            </a:r>
          </a:p>
        </p:txBody>
      </p:sp>
    </p:spTree>
    <p:extLst>
      <p:ext uri="{BB962C8B-B14F-4D97-AF65-F5344CB8AC3E}">
        <p14:creationId xmlns:p14="http://schemas.microsoft.com/office/powerpoint/2010/main" val="2333801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mparis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36566" y="1874958"/>
            <a:ext cx="2904895" cy="55651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403" b="1" cap="none" baseline="0"/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6565" y="2431476"/>
            <a:ext cx="2904896" cy="42875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7051940" y="1874958"/>
            <a:ext cx="2904897" cy="55651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403" b="1" cap="none" baseline="0"/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051940" y="2431476"/>
            <a:ext cx="2904897" cy="42875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20C4D7-2381-433F-B4D5-00DD001D3302}" type="datetime1">
              <a:rPr lang="fi-FI" smtClean="0"/>
              <a:t>22.5.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LASSIFICATION  /  PRESENTATION  / 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8CDF1A-3CDE-4195-AF23-CDCF2878DEB5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894459" y="1874958"/>
            <a:ext cx="2904483" cy="55651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403" b="1" cap="none" baseline="0"/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14"/>
          </p:nvPr>
        </p:nvSpPr>
        <p:spPr>
          <a:xfrm>
            <a:off x="3894459" y="2431476"/>
            <a:ext cx="2904483" cy="42875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5945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4967975" cy="6719033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6700" y="446419"/>
            <a:ext cx="4610135" cy="119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46700" y="1874957"/>
            <a:ext cx="4611529" cy="4844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224934-A4DB-4E8F-B389-98792B913357}" type="datetime1">
              <a:rPr lang="fi-FI" smtClean="0"/>
              <a:t>22.5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LASSIFICATION  /  PRESENTATION  / 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8CDF1A-3CDE-4195-AF23-CDCF2878DE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5288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 left 2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1875613"/>
            <a:ext cx="4967975" cy="5687237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5171" y="843818"/>
            <a:ext cx="9221666" cy="793569"/>
          </a:xfrm>
        </p:spPr>
        <p:txBody>
          <a:bodyPr tIns="4680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46700" y="1874957"/>
            <a:ext cx="4611529" cy="4844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622E52-00AE-47E9-A97E-76E45E9EA5A1}" type="datetime1">
              <a:rPr lang="fi-FI" smtClean="0"/>
              <a:t>22.5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LASSIFICATION  /  PRESENTATION  / 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8CDF1A-3CDE-4195-AF23-CDCF2878DEB5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idx="15"/>
          </p:nvPr>
        </p:nvSpPr>
        <p:spPr>
          <a:xfrm>
            <a:off x="736565" y="446420"/>
            <a:ext cx="9220272" cy="397399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228" b="1" cap="all" spc="88" baseline="0">
                <a:solidFill>
                  <a:schemeClr val="tx1"/>
                </a:solidFill>
              </a:defRPr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14" descr="dont touch/move" title="Kemira Logo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736564" y="7127331"/>
            <a:ext cx="631500" cy="14841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i-FI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96583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 left 2nd Ne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1875613"/>
            <a:ext cx="4967975" cy="5687237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5171" y="843818"/>
            <a:ext cx="9221666" cy="793569"/>
          </a:xfrm>
        </p:spPr>
        <p:txBody>
          <a:bodyPr tIns="4680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46700" y="1874957"/>
            <a:ext cx="4611529" cy="4844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3622E52-00AE-47E9-A97E-76E45E9EA5A1}" type="datetime1">
              <a:rPr lang="fi-FI" smtClean="0"/>
              <a:pPr/>
              <a:t>22.5.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ASSIFICATION  /  PRESENTATION  / 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8CDF1A-3CDE-4195-AF23-CDCF2878DEB5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idx="15"/>
          </p:nvPr>
        </p:nvSpPr>
        <p:spPr>
          <a:xfrm>
            <a:off x="736565" y="446420"/>
            <a:ext cx="9220272" cy="397399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228" b="1" cap="all" spc="88" baseline="0">
                <a:solidFill>
                  <a:schemeClr val="tx1"/>
                </a:solidFill>
              </a:defRPr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14" descr="dont touch/move" title="Kemira Logo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736564" y="7127331"/>
            <a:ext cx="631500" cy="14841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i-FI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94255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5171" y="446419"/>
            <a:ext cx="4611530" cy="119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6564" y="1874957"/>
            <a:ext cx="4610136" cy="4844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DCE8DB-2017-4CBD-8C4D-E7D197E42679}" type="datetime1">
              <a:rPr lang="fi-FI" smtClean="0"/>
              <a:t>22.5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LASSIFICATION  /  PRESENTATION  / 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8CDF1A-3CDE-4195-AF23-CDCF2878DEB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5725424" y="1"/>
            <a:ext cx="4967976" cy="6719031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4973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 right 2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5171" y="843818"/>
            <a:ext cx="4611530" cy="1349431"/>
          </a:xfrm>
        </p:spPr>
        <p:txBody>
          <a:bodyPr tIns="4680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6564" y="2272356"/>
            <a:ext cx="4610136" cy="44466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0C352C-EB64-42BC-93F3-4CBED24548FD}" type="datetime1">
              <a:rPr lang="fi-FI" smtClean="0"/>
              <a:t>22.5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LASSIFICATION  /  PRESENTATION  / 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8CDF1A-3CDE-4195-AF23-CDCF2878DEB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5725424" y="1"/>
            <a:ext cx="4967976" cy="6719031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5"/>
          </p:nvPr>
        </p:nvSpPr>
        <p:spPr>
          <a:xfrm>
            <a:off x="736565" y="446420"/>
            <a:ext cx="4610135" cy="397399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228" b="1" cap="all" spc="88" baseline="0">
                <a:solidFill>
                  <a:schemeClr val="tx1"/>
                </a:solidFill>
              </a:defRPr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7053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736238" y="1875614"/>
            <a:ext cx="9957163" cy="4843937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218A7D-734A-48E8-A244-CAB5DF546BD2}" type="datetime1">
              <a:rPr lang="fi-FI" smtClean="0"/>
              <a:t>22.5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LASSIFICATION  /  PRESENTATION  / 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8CDF1A-3CDE-4195-AF23-CDCF2878DEB5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A0B645D-18CB-479A-BB3B-93DFD41639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8980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2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736238" y="1875614"/>
            <a:ext cx="9957163" cy="4843937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A126-9D77-4AFE-8F3F-8C01E4F02200}" type="datetime1">
              <a:rPr lang="fi-FI" smtClean="0"/>
              <a:t>22.5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LASSIFICATION  /  PRESENTATION  / 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8CDF1A-3CDE-4195-AF23-CDCF2878DEB5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A0B645D-18CB-479A-BB3B-93DFD41639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5171" y="843818"/>
            <a:ext cx="9221666" cy="793569"/>
          </a:xfrm>
        </p:spPr>
        <p:txBody>
          <a:bodyPr tIns="4680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5"/>
          </p:nvPr>
        </p:nvSpPr>
        <p:spPr>
          <a:xfrm>
            <a:off x="736565" y="446420"/>
            <a:ext cx="9220272" cy="397399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228" b="1" cap="all" spc="88" baseline="0">
                <a:solidFill>
                  <a:schemeClr val="tx1"/>
                </a:solidFill>
              </a:defRPr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79733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6564" y="1874957"/>
            <a:ext cx="5746962" cy="4844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35F289-9024-4D49-B24B-0883FA52E8F1}" type="datetime1">
              <a:rPr lang="fi-FI" smtClean="0"/>
              <a:t>22.5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LASSIFICATION  /  PRESENTATION  / 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8CDF1A-3CDE-4195-AF23-CDCF2878DEB5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19"/>
          </p:nvPr>
        </p:nvSpPr>
        <p:spPr>
          <a:xfrm>
            <a:off x="7115009" y="3543199"/>
            <a:ext cx="3578390" cy="40196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0"/>
          </p:nvPr>
        </p:nvSpPr>
        <p:spPr>
          <a:xfrm>
            <a:off x="7115009" y="1874957"/>
            <a:ext cx="2841828" cy="1430016"/>
          </a:xfrm>
        </p:spPr>
        <p:txBody>
          <a:bodyPr/>
          <a:lstStyle>
            <a:lvl1pPr marL="0" indent="0">
              <a:spcBef>
                <a:spcPts val="877"/>
              </a:spcBef>
              <a:buNone/>
              <a:defRPr sz="1228" b="1" cap="all" spc="88" baseline="0"/>
            </a:lvl1pPr>
            <a:lvl2pPr marL="0" indent="0">
              <a:spcBef>
                <a:spcPts val="877"/>
              </a:spcBef>
              <a:buFontTx/>
              <a:buNone/>
              <a:defRPr sz="1228"/>
            </a:lvl2pPr>
            <a:lvl3pPr marL="160126" indent="-160126">
              <a:spcBef>
                <a:spcPts val="175"/>
              </a:spcBef>
              <a:defRPr sz="1228"/>
            </a:lvl3pPr>
            <a:lvl4pPr marL="313290" indent="-153164">
              <a:spcBef>
                <a:spcPts val="175"/>
              </a:spcBef>
              <a:buFont typeface="Arial" panose="020B0604020202020204" pitchFamily="34" charset="0"/>
              <a:buChar char="•"/>
              <a:defRPr sz="1053"/>
            </a:lvl4pPr>
            <a:lvl5pPr marL="473415" indent="-160126">
              <a:spcBef>
                <a:spcPts val="175"/>
              </a:spcBef>
              <a:defRPr sz="87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5"/>
          </p:nvPr>
        </p:nvSpPr>
        <p:spPr>
          <a:xfrm>
            <a:off x="736565" y="446420"/>
            <a:ext cx="9220272" cy="397399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228" b="1" cap="all" spc="88" baseline="0">
                <a:solidFill>
                  <a:schemeClr val="tx1"/>
                </a:solidFill>
              </a:defRPr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2A0B645D-18CB-479A-BB3B-93DFD41639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5171" y="843818"/>
            <a:ext cx="9221666" cy="793569"/>
          </a:xfrm>
        </p:spPr>
        <p:txBody>
          <a:bodyPr tIns="4680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335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 highlight 2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7"/>
          <p:cNvSpPr>
            <a:spLocks noGrp="1"/>
          </p:cNvSpPr>
          <p:nvPr>
            <p:ph type="pic" sz="quarter" idx="21"/>
          </p:nvPr>
        </p:nvSpPr>
        <p:spPr>
          <a:xfrm>
            <a:off x="7115009" y="843819"/>
            <a:ext cx="3578390" cy="4178882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6564" y="1874957"/>
            <a:ext cx="5746962" cy="4844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D0DA97-C243-4EE1-827D-9FEDC3C15698}" type="datetime1">
              <a:rPr lang="fi-FI" smtClean="0"/>
              <a:t>22.5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LASSIFICATION  /  PRESENTATION  / 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8CDF1A-3CDE-4195-AF23-CDCF2878DEB5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20"/>
          </p:nvPr>
        </p:nvSpPr>
        <p:spPr>
          <a:xfrm>
            <a:off x="7115010" y="5290193"/>
            <a:ext cx="2841828" cy="1428839"/>
          </a:xfrm>
        </p:spPr>
        <p:txBody>
          <a:bodyPr/>
          <a:lstStyle>
            <a:lvl1pPr marL="0" indent="0">
              <a:spcBef>
                <a:spcPts val="877"/>
              </a:spcBef>
              <a:buNone/>
              <a:defRPr sz="1228" b="1" cap="all" spc="88" baseline="0"/>
            </a:lvl1pPr>
            <a:lvl2pPr marL="0" indent="0">
              <a:spcBef>
                <a:spcPts val="877"/>
              </a:spcBef>
              <a:buFontTx/>
              <a:buNone/>
              <a:defRPr sz="1228"/>
            </a:lvl2pPr>
            <a:lvl3pPr marL="160126" indent="-160126">
              <a:spcBef>
                <a:spcPts val="175"/>
              </a:spcBef>
              <a:defRPr sz="1228"/>
            </a:lvl3pPr>
            <a:lvl4pPr marL="313290" indent="-153164">
              <a:spcBef>
                <a:spcPts val="175"/>
              </a:spcBef>
              <a:buFont typeface="Arial" panose="020B0604020202020204" pitchFamily="34" charset="0"/>
              <a:buChar char="•"/>
              <a:defRPr sz="1053"/>
            </a:lvl4pPr>
            <a:lvl5pPr marL="473415" indent="-160126">
              <a:spcBef>
                <a:spcPts val="175"/>
              </a:spcBef>
              <a:defRPr sz="87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5"/>
          </p:nvPr>
        </p:nvSpPr>
        <p:spPr>
          <a:xfrm>
            <a:off x="736565" y="446420"/>
            <a:ext cx="9220272" cy="397399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228" b="1" cap="all" spc="88" baseline="0">
                <a:solidFill>
                  <a:schemeClr val="tx1"/>
                </a:solidFill>
              </a:defRPr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2A0B645D-18CB-479A-BB3B-93DFD41639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5171" y="843818"/>
            <a:ext cx="5748356" cy="793569"/>
          </a:xfrm>
        </p:spPr>
        <p:txBody>
          <a:bodyPr tIns="4680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4665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PIC Ne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0693400" cy="756285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0065147" y="4753769"/>
                </a:moveTo>
                <a:lnTo>
                  <a:pt x="10217547" y="5016500"/>
                </a:lnTo>
                <a:lnTo>
                  <a:pt x="10369550" y="5279628"/>
                </a:lnTo>
                <a:lnTo>
                  <a:pt x="10521950" y="5542360"/>
                </a:lnTo>
                <a:lnTo>
                  <a:pt x="10674350" y="5805885"/>
                </a:lnTo>
                <a:lnTo>
                  <a:pt x="10826354" y="6068616"/>
                </a:lnTo>
                <a:lnTo>
                  <a:pt x="10979150" y="6331744"/>
                </a:lnTo>
                <a:lnTo>
                  <a:pt x="11131154" y="6594872"/>
                </a:lnTo>
                <a:lnTo>
                  <a:pt x="11283950" y="6858000"/>
                </a:lnTo>
                <a:lnTo>
                  <a:pt x="8234363" y="6858000"/>
                </a:lnTo>
                <a:lnTo>
                  <a:pt x="8462963" y="6594872"/>
                </a:lnTo>
                <a:lnTo>
                  <a:pt x="8691959" y="6331744"/>
                </a:lnTo>
                <a:lnTo>
                  <a:pt x="8920560" y="6068616"/>
                </a:lnTo>
                <a:lnTo>
                  <a:pt x="9149556" y="5805885"/>
                </a:lnTo>
                <a:lnTo>
                  <a:pt x="9378156" y="5542360"/>
                </a:lnTo>
                <a:lnTo>
                  <a:pt x="9607550" y="5279628"/>
                </a:lnTo>
                <a:lnTo>
                  <a:pt x="9836150" y="50165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309747" y="6858000"/>
                </a:lnTo>
                <a:lnTo>
                  <a:pt x="11156157" y="6592491"/>
                </a:lnTo>
                <a:lnTo>
                  <a:pt x="11002566" y="6327378"/>
                </a:lnTo>
                <a:lnTo>
                  <a:pt x="10849372" y="6062266"/>
                </a:lnTo>
                <a:lnTo>
                  <a:pt x="10695782" y="5797153"/>
                </a:lnTo>
                <a:lnTo>
                  <a:pt x="10542191" y="5532041"/>
                </a:lnTo>
                <a:lnTo>
                  <a:pt x="10388600" y="5266928"/>
                </a:lnTo>
                <a:lnTo>
                  <a:pt x="10235010" y="5001816"/>
                </a:lnTo>
                <a:lnTo>
                  <a:pt x="10081816" y="4736703"/>
                </a:lnTo>
                <a:lnTo>
                  <a:pt x="10077450" y="4739878"/>
                </a:lnTo>
                <a:lnTo>
                  <a:pt x="10341769" y="4435872"/>
                </a:lnTo>
                <a:lnTo>
                  <a:pt x="10605691" y="4132660"/>
                </a:lnTo>
                <a:lnTo>
                  <a:pt x="10870010" y="3828653"/>
                </a:lnTo>
                <a:lnTo>
                  <a:pt x="11133932" y="3525441"/>
                </a:lnTo>
                <a:lnTo>
                  <a:pt x="11398250" y="3221435"/>
                </a:lnTo>
                <a:lnTo>
                  <a:pt x="11662172" y="2918222"/>
                </a:lnTo>
                <a:lnTo>
                  <a:pt x="11926491" y="2614216"/>
                </a:lnTo>
                <a:lnTo>
                  <a:pt x="12190413" y="2311003"/>
                </a:lnTo>
                <a:lnTo>
                  <a:pt x="12190413" y="2276475"/>
                </a:lnTo>
                <a:lnTo>
                  <a:pt x="11941176" y="2563019"/>
                </a:lnTo>
                <a:lnTo>
                  <a:pt x="11691938" y="2849166"/>
                </a:lnTo>
                <a:lnTo>
                  <a:pt x="11442700" y="3135710"/>
                </a:lnTo>
                <a:lnTo>
                  <a:pt x="11193463" y="3421856"/>
                </a:lnTo>
                <a:lnTo>
                  <a:pt x="10944226" y="3708400"/>
                </a:lnTo>
                <a:lnTo>
                  <a:pt x="10694988" y="3994547"/>
                </a:lnTo>
                <a:lnTo>
                  <a:pt x="10446147" y="4281091"/>
                </a:lnTo>
                <a:lnTo>
                  <a:pt x="10197306" y="4567238"/>
                </a:lnTo>
                <a:lnTo>
                  <a:pt x="9947672" y="4853781"/>
                </a:lnTo>
                <a:lnTo>
                  <a:pt x="9698832" y="5139928"/>
                </a:lnTo>
                <a:lnTo>
                  <a:pt x="9449594" y="5426472"/>
                </a:lnTo>
                <a:lnTo>
                  <a:pt x="9200753" y="5712619"/>
                </a:lnTo>
                <a:lnTo>
                  <a:pt x="8951119" y="5999163"/>
                </a:lnTo>
                <a:lnTo>
                  <a:pt x="8702278" y="6285310"/>
                </a:lnTo>
                <a:lnTo>
                  <a:pt x="8453041" y="6571853"/>
                </a:lnTo>
                <a:lnTo>
                  <a:pt x="82042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14" descr="dont touch/move" title="Kemira Logo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736564" y="7127331"/>
            <a:ext cx="631500" cy="14841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i-FI"/>
              <a:t>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9F3D967D-2ED2-4693-8BB0-2B1B4A6E032E}" type="datetime1">
              <a:rPr lang="fi-FI" smtClean="0"/>
              <a:t>22.5.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LASSIFICATION  /  PRESENTATION  /  AUTHO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9B8CDF1A-3CDE-4195-AF23-CDCF2878DEB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736564" y="5766673"/>
            <a:ext cx="9220273" cy="952359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228" b="1" cap="all" spc="88" baseline="0">
                <a:solidFill>
                  <a:schemeClr val="bg1"/>
                </a:solidFill>
              </a:defRPr>
            </a:lvl1pPr>
            <a:lvl2pPr marL="401010" indent="0" algn="ctr">
              <a:buNone/>
              <a:defRPr sz="1754"/>
            </a:lvl2pPr>
            <a:lvl3pPr marL="802020" indent="0" algn="ctr">
              <a:buNone/>
              <a:defRPr sz="1579"/>
            </a:lvl3pPr>
            <a:lvl4pPr marL="1203030" indent="0" algn="ctr">
              <a:buNone/>
              <a:defRPr sz="1403"/>
            </a:lvl4pPr>
            <a:lvl5pPr marL="1604040" indent="0" algn="ctr">
              <a:buNone/>
              <a:defRPr sz="1403"/>
            </a:lvl5pPr>
            <a:lvl6pPr marL="2005051" indent="0" algn="ctr">
              <a:buNone/>
              <a:defRPr sz="1403"/>
            </a:lvl6pPr>
            <a:lvl7pPr marL="2406061" indent="0" algn="ctr">
              <a:buNone/>
              <a:defRPr sz="1403"/>
            </a:lvl7pPr>
            <a:lvl8pPr marL="2807071" indent="0" algn="ctr">
              <a:buNone/>
              <a:defRPr sz="1403"/>
            </a:lvl8pPr>
            <a:lvl9pPr marL="3208081" indent="0" algn="ctr">
              <a:buNone/>
              <a:defRPr sz="1403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736564" y="1637388"/>
            <a:ext cx="9220273" cy="4129259"/>
          </a:xfrm>
        </p:spPr>
        <p:txBody>
          <a:bodyPr anchor="ctr" anchorCtr="0"/>
          <a:lstStyle>
            <a:lvl1pPr algn="l">
              <a:lnSpc>
                <a:spcPct val="80000"/>
              </a:lnSpc>
              <a:defRPr sz="7017" spc="-263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23" hasCustomPrompt="1"/>
          </p:nvPr>
        </p:nvSpPr>
        <p:spPr>
          <a:xfrm>
            <a:off x="736565" y="446420"/>
            <a:ext cx="9220272" cy="1190449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228" b="0" cap="all" spc="88" baseline="0">
                <a:solidFill>
                  <a:schemeClr val="bg1"/>
                </a:solidFill>
              </a:defRPr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 dirty="0"/>
              <a:t>CLICK TO ADD DATE, PLACE AND AUTHOR</a:t>
            </a:r>
          </a:p>
        </p:txBody>
      </p:sp>
    </p:spTree>
    <p:extLst>
      <p:ext uri="{BB962C8B-B14F-4D97-AF65-F5344CB8AC3E}">
        <p14:creationId xmlns:p14="http://schemas.microsoft.com/office/powerpoint/2010/main" val="3354116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ighlight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C8813B69-3FEC-4557-A579-0F7F36AD502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225564"/>
            <a:ext cx="10693400" cy="4337287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5460C-88C3-4806-A64E-B775920F533F}" type="datetime1">
              <a:rPr lang="fi-FI" smtClean="0"/>
              <a:t>22.5.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LASSIFICATION  /  PRESENTATION  / 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8CDF1A-3CDE-4195-AF23-CDCF2878DEB5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35171" y="843819"/>
            <a:ext cx="9221666" cy="1508084"/>
          </a:xfrm>
        </p:spPr>
        <p:txBody>
          <a:bodyPr/>
          <a:lstStyle>
            <a:lvl1pPr>
              <a:defRPr sz="5263" spc="-263" baseline="0"/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5"/>
          </p:nvPr>
        </p:nvSpPr>
        <p:spPr>
          <a:xfrm>
            <a:off x="736565" y="446420"/>
            <a:ext cx="9220272" cy="39739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228" b="1" cap="all" spc="88" baseline="0">
                <a:solidFill>
                  <a:schemeClr val="tx1"/>
                </a:solidFill>
              </a:defRPr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14" descr="dont touch/move" title="Kemira Logo">
            <a:extLst>
              <a:ext uri="{FF2B5EF4-FFF2-40B4-BE49-F238E27FC236}">
                <a16:creationId xmlns:a16="http://schemas.microsoft.com/office/drawing/2014/main" id="{5CA5A659-3A92-4A39-A51B-60B9C2ACB9BE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736564" y="7127331"/>
            <a:ext cx="631500" cy="14841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i-FI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33700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ighlight PIC ne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0" y="3225564"/>
            <a:ext cx="10693400" cy="4337287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D5460C-88C3-4806-A64E-B775920F533F}" type="datetime1">
              <a:rPr lang="fi-FI" smtClean="0"/>
              <a:pPr/>
              <a:t>22.5.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ASSIFICATION  /  PRESENTATION  / 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B8CDF1A-3CDE-4195-AF23-CDCF2878DEB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35171" y="843819"/>
            <a:ext cx="9221666" cy="1508084"/>
          </a:xfrm>
        </p:spPr>
        <p:txBody>
          <a:bodyPr/>
          <a:lstStyle>
            <a:lvl1pPr>
              <a:defRPr sz="5263" spc="-263" baseline="0"/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5"/>
          </p:nvPr>
        </p:nvSpPr>
        <p:spPr>
          <a:xfrm>
            <a:off x="736565" y="446420"/>
            <a:ext cx="9220272" cy="39739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228" b="1" cap="all" spc="88" baseline="0">
                <a:solidFill>
                  <a:schemeClr val="tx1"/>
                </a:solidFill>
              </a:defRPr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14" descr="dont touch/move" title="Kemira Logo">
            <a:extLst>
              <a:ext uri="{FF2B5EF4-FFF2-40B4-BE49-F238E27FC236}">
                <a16:creationId xmlns:a16="http://schemas.microsoft.com/office/drawing/2014/main" id="{4FB435CF-8882-49F2-8666-06559D32796C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736564" y="7127331"/>
            <a:ext cx="631500" cy="14841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i-FI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97940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Mosa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D5A23A-7974-447B-A767-744EE78281D1}" type="datetime1">
              <a:rPr lang="fi-FI" smtClean="0"/>
              <a:t>22.5.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LASSIFICATION  /  PRESENTATION  /  AUTH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8CDF1A-3CDE-4195-AF23-CDCF2878DEB5}" type="slidenum">
              <a:rPr lang="en-US" smtClean="0"/>
              <a:t>‹#›</a:t>
            </a:fld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922598"/>
            <a:ext cx="4714564" cy="5796434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4904601" y="922599"/>
            <a:ext cx="3284165" cy="2699516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8378237" y="1716796"/>
            <a:ext cx="2315163" cy="190532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7430882" y="3860833"/>
            <a:ext cx="3262518" cy="2858198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4903927" y="3860206"/>
            <a:ext cx="2337789" cy="1985248"/>
          </a:xfrm>
        </p:spPr>
        <p:txBody>
          <a:bodyPr/>
          <a:lstStyle>
            <a:lvl1pPr marL="0" indent="0">
              <a:buNone/>
              <a:defRPr sz="1754" b="1"/>
            </a:lvl1pPr>
            <a:lvl2pPr marL="160126" indent="-160126">
              <a:buFont typeface="Arial" panose="020B0604020202020204" pitchFamily="34" charset="0"/>
              <a:buChar char="•"/>
              <a:defRPr sz="1403"/>
            </a:lvl2pPr>
            <a:lvl3pPr marL="313290" indent="-153164">
              <a:defRPr sz="1228"/>
            </a:lvl3pPr>
            <a:lvl4pPr marL="473415" indent="-160126">
              <a:buFont typeface="Arial" panose="020B0604020202020204" pitchFamily="34" charset="0"/>
              <a:buChar char="•"/>
              <a:defRPr sz="1053"/>
            </a:lvl4pPr>
            <a:lvl5pPr marL="626578" indent="-153164">
              <a:defRPr sz="87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9"/>
          </p:nvPr>
        </p:nvSpPr>
        <p:spPr>
          <a:xfrm>
            <a:off x="736565" y="446420"/>
            <a:ext cx="9220272" cy="397399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228" b="1" cap="all" spc="88" baseline="0">
                <a:solidFill>
                  <a:schemeClr val="tx1"/>
                </a:solidFill>
              </a:defRPr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0665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Mosaic 2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5C8E32-6A88-42E2-9664-598FA9BFCD38}" type="datetime1">
              <a:rPr lang="fi-FI" smtClean="0"/>
              <a:t>22.5.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LASSIFICATION  /  PRESENTATION  /  AUTH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8CDF1A-3CDE-4195-AF23-CDCF2878DEB5}" type="slidenum">
              <a:rPr lang="en-US" smtClean="0"/>
              <a:t>‹#›</a:t>
            </a:fld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5978271" y="922598"/>
            <a:ext cx="4715130" cy="5796434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0" y="1716796"/>
            <a:ext cx="2315511" cy="190532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3451989" y="3860834"/>
            <a:ext cx="2336810" cy="1985221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0" y="3860833"/>
            <a:ext cx="3262518" cy="2858198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2504635" y="922599"/>
            <a:ext cx="3284164" cy="2699517"/>
          </a:xfrm>
        </p:spPr>
        <p:txBody>
          <a:bodyPr/>
          <a:lstStyle>
            <a:lvl1pPr marL="0" indent="0">
              <a:buNone/>
              <a:defRPr sz="1754" b="1"/>
            </a:lvl1pPr>
            <a:lvl2pPr marL="160126" indent="-160126">
              <a:buFont typeface="Arial" panose="020B0604020202020204" pitchFamily="34" charset="0"/>
              <a:buChar char="•"/>
              <a:defRPr sz="1403"/>
            </a:lvl2pPr>
            <a:lvl3pPr marL="313290" indent="-153164">
              <a:defRPr sz="1228"/>
            </a:lvl3pPr>
            <a:lvl4pPr marL="473415" indent="-160126">
              <a:buFont typeface="Arial" panose="020B0604020202020204" pitchFamily="34" charset="0"/>
              <a:buChar char="•"/>
              <a:defRPr sz="1053"/>
            </a:lvl4pPr>
            <a:lvl5pPr marL="626578" indent="-153164">
              <a:defRPr sz="87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9"/>
          </p:nvPr>
        </p:nvSpPr>
        <p:spPr>
          <a:xfrm>
            <a:off x="736565" y="446420"/>
            <a:ext cx="9220272" cy="397399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228" b="1" cap="all" spc="88" baseline="0">
                <a:solidFill>
                  <a:schemeClr val="tx1"/>
                </a:solidFill>
              </a:defRPr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839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Mosaic 3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66D9B9-53E7-4153-A5E9-2FD8339E8D6D}" type="datetime1">
              <a:rPr lang="fi-FI" smtClean="0"/>
              <a:t>22.5.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LASSIFICATION  /  PRESENTATION  /  AUTH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8CDF1A-3CDE-4195-AF23-CDCF2878DEB5}" type="slidenum">
              <a:rPr lang="en-US" smtClean="0"/>
              <a:t>‹#›</a:t>
            </a:fld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5978271" y="922598"/>
            <a:ext cx="4715130" cy="5796434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0" y="1716796"/>
            <a:ext cx="3262519" cy="190532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2504634" y="3860834"/>
            <a:ext cx="3284165" cy="1985221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1" y="3860833"/>
            <a:ext cx="2315511" cy="2858198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451990" y="1160934"/>
            <a:ext cx="4105206" cy="2223447"/>
          </a:xfrm>
        </p:spPr>
        <p:txBody>
          <a:bodyPr anchor="ctr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8"/>
          </p:nvPr>
        </p:nvSpPr>
        <p:spPr>
          <a:xfrm>
            <a:off x="736565" y="446420"/>
            <a:ext cx="9220272" cy="397399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228" b="1" cap="all" spc="88" baseline="0">
                <a:solidFill>
                  <a:schemeClr val="tx1"/>
                </a:solidFill>
              </a:defRPr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8643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Mosaic 4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12077B-4C51-4EBD-8EC0-2D8947DABEEA}" type="datetime1">
              <a:rPr lang="fi-FI" smtClean="0"/>
              <a:t>22.5.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LASSIFICATION  /  PRESENTATION  /  AUTH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8CDF1A-3CDE-4195-AF23-CDCF2878DEB5}" type="slidenum">
              <a:rPr lang="en-US" smtClean="0"/>
              <a:t>‹#›</a:t>
            </a:fld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922598"/>
            <a:ext cx="4714564" cy="5796434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4904601" y="0"/>
            <a:ext cx="3284165" cy="3622116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8378237" y="922707"/>
            <a:ext cx="2315163" cy="26999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4903927" y="3860205"/>
            <a:ext cx="5053236" cy="2779937"/>
          </a:xfrm>
        </p:spPr>
        <p:txBody>
          <a:bodyPr/>
          <a:lstStyle>
            <a:lvl1pPr marL="0" indent="0">
              <a:buNone/>
              <a:defRPr sz="1754" b="1"/>
            </a:lvl1pPr>
            <a:lvl2pPr marL="160126" indent="-160126">
              <a:buFont typeface="Arial" panose="020B0604020202020204" pitchFamily="34" charset="0"/>
              <a:buChar char="•"/>
              <a:defRPr sz="1403"/>
            </a:lvl2pPr>
            <a:lvl3pPr marL="313290" indent="-153164">
              <a:defRPr sz="1228"/>
            </a:lvl3pPr>
            <a:lvl4pPr marL="473415" indent="-160126">
              <a:buFont typeface="Arial" panose="020B0604020202020204" pitchFamily="34" charset="0"/>
              <a:buChar char="•"/>
              <a:defRPr sz="1053"/>
            </a:lvl4pPr>
            <a:lvl5pPr marL="626578" indent="-153164">
              <a:defRPr sz="87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5"/>
          </p:nvPr>
        </p:nvSpPr>
        <p:spPr>
          <a:xfrm>
            <a:off x="736565" y="446420"/>
            <a:ext cx="9220272" cy="397399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228" b="1" cap="all" spc="88" baseline="0">
                <a:solidFill>
                  <a:schemeClr val="tx1"/>
                </a:solidFill>
              </a:defRPr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3761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Mosaic 5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5978271" y="2193249"/>
            <a:ext cx="4715130" cy="5369601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371098-A629-456E-8722-A5E0574A2DBD}" type="datetime1">
              <a:rPr lang="fi-FI" smtClean="0"/>
              <a:t>22.5.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LASSIFICATION  /  PRESENTATION  /  AUTH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8CDF1A-3CDE-4195-AF23-CDCF2878DEB5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0" y="3860833"/>
            <a:ext cx="4020403" cy="2858198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736238" y="1081525"/>
            <a:ext cx="5052560" cy="2540590"/>
          </a:xfrm>
        </p:spPr>
        <p:txBody>
          <a:bodyPr/>
          <a:lstStyle>
            <a:lvl1pPr marL="0" indent="0">
              <a:buNone/>
              <a:defRPr sz="1754" b="1"/>
            </a:lvl1pPr>
            <a:lvl2pPr marL="160126" indent="-160126">
              <a:buFont typeface="Arial" panose="020B0604020202020204" pitchFamily="34" charset="0"/>
              <a:buChar char="•"/>
              <a:defRPr sz="1403"/>
            </a:lvl2pPr>
            <a:lvl3pPr marL="313290" indent="-153164">
              <a:defRPr sz="1228"/>
            </a:lvl3pPr>
            <a:lvl4pPr marL="473415" indent="-160126">
              <a:buFont typeface="Arial" panose="020B0604020202020204" pitchFamily="34" charset="0"/>
              <a:buChar char="•"/>
              <a:defRPr sz="1053"/>
            </a:lvl4pPr>
            <a:lvl5pPr marL="626578" indent="-153164">
              <a:defRPr sz="87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B1E84A09-D428-49A5-AC04-A03E7E39B08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978270" y="0"/>
            <a:ext cx="1578750" cy="1955022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2"/>
          <p:cNvSpPr>
            <a:spLocks noGrp="1"/>
          </p:cNvSpPr>
          <p:nvPr>
            <p:ph type="body" idx="15"/>
          </p:nvPr>
        </p:nvSpPr>
        <p:spPr>
          <a:xfrm>
            <a:off x="736565" y="446420"/>
            <a:ext cx="5052234" cy="397399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228" b="1" cap="all" spc="88" baseline="0">
                <a:solidFill>
                  <a:schemeClr val="tx1"/>
                </a:solidFill>
              </a:defRPr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41522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Mosaic 6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3578304" y="4783541"/>
            <a:ext cx="2210250" cy="2779309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2B1B20-A435-4C5B-A089-FE8F2FC27A45}" type="datetime1">
              <a:rPr lang="fi-FI" smtClean="0"/>
              <a:t>22.5.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LASSIFICATION  /  PRESENTATION  /  AUTH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8CDF1A-3CDE-4195-AF23-CDCF2878DEB5}" type="slidenum">
              <a:rPr lang="en-US" smtClean="0"/>
              <a:t>‹#›</a:t>
            </a:fld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5978271" y="0"/>
            <a:ext cx="4715130" cy="5717655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0" y="1478569"/>
            <a:ext cx="3388832" cy="4208668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578304" y="1478569"/>
            <a:ext cx="3978892" cy="3096944"/>
          </a:xfrm>
        </p:spPr>
        <p:txBody>
          <a:bodyPr anchor="ctr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5"/>
          </p:nvPr>
        </p:nvSpPr>
        <p:spPr>
          <a:xfrm>
            <a:off x="736565" y="446420"/>
            <a:ext cx="6820631" cy="397399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228" b="1" cap="all" spc="88" baseline="0">
                <a:solidFill>
                  <a:schemeClr val="tx1"/>
                </a:solidFill>
              </a:defRPr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27244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09319A-A8F7-4408-BD50-7FC7F609E7C7}" type="datetime1">
              <a:rPr lang="fi-FI" smtClean="0"/>
              <a:t>22.5.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LASSIFICATION  /  PRESENTATION  /  AUTHO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8CDF1A-3CDE-4195-AF23-CDCF2878DE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9781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AB0691-4C27-4EFF-AF4D-62C328AF8075}" type="datetime1">
              <a:rPr lang="fi-FI" smtClean="0"/>
              <a:t>22.5.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LASSIFICATION  /  PRESENTATION  /  AUTH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8CDF1A-3CDE-4195-AF23-CDCF2878DE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0733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044721-AECB-404B-86F1-83E34E57FB92}" type="datetime1">
              <a:rPr lang="fi-FI" smtClean="0"/>
              <a:t>22.5.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LASSIFICATION  /  PRESENTATION  / 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8CDF1A-3CDE-4195-AF23-CDCF2878DEB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0455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62E1D9-BA77-411C-A73F-A9C240FDF57C}" type="datetime1">
              <a:rPr lang="fi-FI" smtClean="0"/>
              <a:t>22.5.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LASSIFICATION  /  PRESENTATION  /  AUTH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8CDF1A-3CDE-4195-AF23-CDCF2878DE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7465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3CC0E5-BC25-4180-AB66-ED9CD21C2A04}" type="datetime1">
              <a:rPr lang="fi-FI" smtClean="0"/>
              <a:t>22.5.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LASSIFICATION  /  PRESENTATION  / 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8CDF1A-3CDE-4195-AF23-CDCF2878DEB5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5171" y="843819"/>
            <a:ext cx="9221666" cy="1508084"/>
          </a:xfrm>
        </p:spPr>
        <p:txBody>
          <a:bodyPr/>
          <a:lstStyle>
            <a:lvl1pPr>
              <a:defRPr sz="5263" spc="-263" baseline="0"/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36564" y="2590292"/>
            <a:ext cx="9220273" cy="41287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5"/>
          </p:nvPr>
        </p:nvSpPr>
        <p:spPr>
          <a:xfrm>
            <a:off x="736565" y="446420"/>
            <a:ext cx="9220272" cy="39739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228" b="1" cap="all" spc="88" baseline="0">
                <a:solidFill>
                  <a:schemeClr val="tx1"/>
                </a:solidFill>
              </a:defRPr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6675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itle and Speci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856C87-54B6-493D-8767-D04290F4E475}" type="datetime1">
              <a:rPr lang="fi-FI" smtClean="0"/>
              <a:t>22.5.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LASSIFICATION  /  PRESENTATION  / 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8CDF1A-3CDE-4195-AF23-CDCF2878DEB5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5171" y="843819"/>
            <a:ext cx="9221666" cy="1508084"/>
          </a:xfrm>
        </p:spPr>
        <p:txBody>
          <a:bodyPr/>
          <a:lstStyle>
            <a:lvl1pPr>
              <a:defRPr sz="5263" spc="-263" baseline="0"/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36564" y="2590293"/>
            <a:ext cx="9220273" cy="12705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26"/>
          </p:nvPr>
        </p:nvSpPr>
        <p:spPr>
          <a:xfrm>
            <a:off x="736564" y="4098540"/>
            <a:ext cx="2336483" cy="2621012"/>
          </a:xfrm>
          <a:ln w="6350">
            <a:solidFill>
              <a:schemeClr val="tx1"/>
            </a:solidFill>
          </a:ln>
        </p:spPr>
        <p:txBody>
          <a:bodyPr lIns="360000" tIns="360000" rIns="360000" bIns="360000" anchor="ctr" anchorCtr="0"/>
          <a:lstStyle>
            <a:lvl1pPr marL="0" indent="0" algn="ctr">
              <a:buFontTx/>
              <a:buNone/>
              <a:defRPr sz="1053" b="1" cap="all" spc="88" baseline="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3508" b="1" spc="-175" baseline="0">
                <a:solidFill>
                  <a:schemeClr val="tx1"/>
                </a:solidFill>
              </a:defRPr>
            </a:lvl2pPr>
            <a:lvl3pPr marL="0" indent="0" algn="ctr">
              <a:buFontTx/>
              <a:buNone/>
              <a:defRPr sz="1228">
                <a:solidFill>
                  <a:schemeClr val="tx1"/>
                </a:solidFill>
              </a:defRPr>
            </a:lvl3pPr>
            <a:lvl4pPr marL="0" indent="0" algn="ctr">
              <a:buFontTx/>
              <a:buNone/>
              <a:defRPr sz="1228" b="1">
                <a:solidFill>
                  <a:schemeClr val="tx1"/>
                </a:solidFill>
              </a:defRPr>
            </a:lvl4pPr>
            <a:lvl5pPr marL="0" indent="0" algn="ctr">
              <a:buFontTx/>
              <a:buNone/>
              <a:defRPr/>
            </a:lvl5pPr>
            <a:lvl6pPr marL="0" indent="0" algn="ctr">
              <a:buFontTx/>
              <a:buNone/>
              <a:defRPr/>
            </a:lvl6pPr>
            <a:lvl7pPr marL="0" indent="0" algn="ctr">
              <a:buFontTx/>
              <a:buNone/>
              <a:defRPr/>
            </a:lvl7pPr>
            <a:lvl8pPr marL="0" indent="0" algn="ctr">
              <a:buFontTx/>
              <a:buNone/>
              <a:defRPr/>
            </a:lvl8pPr>
            <a:lvl9pPr marL="0" indent="0" algn="ctr">
              <a:buFontTx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7"/>
          </p:nvPr>
        </p:nvSpPr>
        <p:spPr>
          <a:xfrm>
            <a:off x="3073047" y="4098540"/>
            <a:ext cx="2273653" cy="2621012"/>
          </a:xfrm>
          <a:ln w="6350">
            <a:solidFill>
              <a:schemeClr val="tx1"/>
            </a:solidFill>
          </a:ln>
        </p:spPr>
        <p:txBody>
          <a:bodyPr lIns="360000" tIns="360000" rIns="360000" bIns="360000" anchor="ctr" anchorCtr="0"/>
          <a:lstStyle>
            <a:lvl1pPr marL="0" indent="0" algn="ctr">
              <a:buFontTx/>
              <a:buNone/>
              <a:defRPr sz="1053" b="1" cap="all" spc="88" baseline="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3508" b="1" spc="-175" baseline="0">
                <a:solidFill>
                  <a:schemeClr val="tx1"/>
                </a:solidFill>
              </a:defRPr>
            </a:lvl2pPr>
            <a:lvl3pPr marL="0" indent="0" algn="ctr">
              <a:buFontTx/>
              <a:buNone/>
              <a:defRPr sz="1228">
                <a:solidFill>
                  <a:schemeClr val="tx1"/>
                </a:solidFill>
              </a:defRPr>
            </a:lvl3pPr>
            <a:lvl4pPr marL="0" indent="0" algn="ctr">
              <a:buFontTx/>
              <a:buNone/>
              <a:defRPr sz="1228" b="1">
                <a:solidFill>
                  <a:schemeClr val="tx1"/>
                </a:solidFill>
              </a:defRPr>
            </a:lvl4pPr>
            <a:lvl5pPr marL="0" indent="0" algn="ctr">
              <a:buFontTx/>
              <a:buNone/>
              <a:defRPr/>
            </a:lvl5pPr>
            <a:lvl6pPr marL="0" indent="0" algn="ctr">
              <a:buFontTx/>
              <a:buNone/>
              <a:defRPr/>
            </a:lvl6pPr>
            <a:lvl7pPr marL="0" indent="0" algn="ctr">
              <a:buFontTx/>
              <a:buNone/>
              <a:defRPr/>
            </a:lvl7pPr>
            <a:lvl8pPr marL="0" indent="0" algn="ctr">
              <a:buFontTx/>
              <a:buNone/>
              <a:defRPr/>
            </a:lvl8pPr>
            <a:lvl9pPr marL="0" indent="0" algn="ctr">
              <a:buFontTx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28"/>
          </p:nvPr>
        </p:nvSpPr>
        <p:spPr>
          <a:xfrm>
            <a:off x="5346700" y="4098540"/>
            <a:ext cx="2273653" cy="2621012"/>
          </a:xfrm>
          <a:ln w="6350">
            <a:solidFill>
              <a:schemeClr val="tx1"/>
            </a:solidFill>
          </a:ln>
        </p:spPr>
        <p:txBody>
          <a:bodyPr lIns="360000" tIns="360000" rIns="360000" bIns="360000" anchor="ctr" anchorCtr="0"/>
          <a:lstStyle>
            <a:lvl1pPr marL="0" indent="0" algn="ctr">
              <a:buFontTx/>
              <a:buNone/>
              <a:defRPr sz="1053" b="1" cap="all" spc="88" baseline="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3508" b="1" spc="-175" baseline="0">
                <a:solidFill>
                  <a:schemeClr val="tx1"/>
                </a:solidFill>
              </a:defRPr>
            </a:lvl2pPr>
            <a:lvl3pPr marL="0" indent="0" algn="ctr">
              <a:buFontTx/>
              <a:buNone/>
              <a:defRPr sz="1228">
                <a:solidFill>
                  <a:schemeClr val="tx1"/>
                </a:solidFill>
              </a:defRPr>
            </a:lvl3pPr>
            <a:lvl4pPr marL="0" indent="0" algn="ctr">
              <a:buFontTx/>
              <a:buNone/>
              <a:defRPr sz="1228" b="1">
                <a:solidFill>
                  <a:schemeClr val="tx1"/>
                </a:solidFill>
              </a:defRPr>
            </a:lvl4pPr>
            <a:lvl5pPr marL="0" indent="0" algn="ctr">
              <a:buFontTx/>
              <a:buNone/>
              <a:defRPr/>
            </a:lvl5pPr>
            <a:lvl6pPr marL="0" indent="0" algn="ctr">
              <a:buFontTx/>
              <a:buNone/>
              <a:defRPr/>
            </a:lvl6pPr>
            <a:lvl7pPr marL="0" indent="0" algn="ctr">
              <a:buFontTx/>
              <a:buNone/>
              <a:defRPr/>
            </a:lvl7pPr>
            <a:lvl8pPr marL="0" indent="0" algn="ctr">
              <a:buFontTx/>
              <a:buNone/>
              <a:defRPr/>
            </a:lvl8pPr>
            <a:lvl9pPr marL="0" indent="0" algn="ctr">
              <a:buFontTx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29"/>
          </p:nvPr>
        </p:nvSpPr>
        <p:spPr>
          <a:xfrm>
            <a:off x="7620353" y="4098540"/>
            <a:ext cx="2336484" cy="2621012"/>
          </a:xfrm>
          <a:ln w="6350">
            <a:solidFill>
              <a:schemeClr val="tx1"/>
            </a:solidFill>
          </a:ln>
        </p:spPr>
        <p:txBody>
          <a:bodyPr lIns="360000" tIns="360000" rIns="360000" bIns="360000" anchor="ctr" anchorCtr="0"/>
          <a:lstStyle>
            <a:lvl1pPr marL="0" indent="0" algn="ctr">
              <a:buFontTx/>
              <a:buNone/>
              <a:defRPr sz="1053" b="1" cap="all" spc="88" baseline="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3508" b="1" spc="-175" baseline="0">
                <a:solidFill>
                  <a:schemeClr val="tx1"/>
                </a:solidFill>
              </a:defRPr>
            </a:lvl2pPr>
            <a:lvl3pPr marL="0" indent="0" algn="ctr">
              <a:buFontTx/>
              <a:buNone/>
              <a:defRPr sz="1228">
                <a:solidFill>
                  <a:schemeClr val="tx1"/>
                </a:solidFill>
              </a:defRPr>
            </a:lvl3pPr>
            <a:lvl4pPr marL="0" indent="0" algn="ctr">
              <a:buFontTx/>
              <a:buNone/>
              <a:defRPr sz="1228" b="1">
                <a:solidFill>
                  <a:schemeClr val="tx1"/>
                </a:solidFill>
              </a:defRPr>
            </a:lvl4pPr>
            <a:lvl5pPr marL="0" indent="0" algn="ctr">
              <a:buFontTx/>
              <a:buNone/>
              <a:defRPr/>
            </a:lvl5pPr>
            <a:lvl6pPr marL="0" indent="0" algn="ctr">
              <a:buFontTx/>
              <a:buNone/>
              <a:defRPr/>
            </a:lvl6pPr>
            <a:lvl7pPr marL="0" indent="0" algn="ctr">
              <a:buFontTx/>
              <a:buNone/>
              <a:defRPr/>
            </a:lvl7pPr>
            <a:lvl8pPr marL="0" indent="0" algn="ctr">
              <a:buFontTx/>
              <a:buNone/>
              <a:defRPr/>
            </a:lvl8pPr>
            <a:lvl9pPr marL="0" indent="0" algn="ctr">
              <a:buFontTx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5"/>
          </p:nvPr>
        </p:nvSpPr>
        <p:spPr>
          <a:xfrm>
            <a:off x="736565" y="446420"/>
            <a:ext cx="9220272" cy="39739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228" b="1" cap="all" spc="88" baseline="0">
                <a:solidFill>
                  <a:schemeClr val="tx1"/>
                </a:solidFill>
              </a:defRPr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3484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1682595" y="7116433"/>
            <a:ext cx="1074668" cy="1593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E0B0F33-03C3-4182-A998-D5744271C26E}" type="datetime1">
              <a:rPr lang="fi-FI" smtClean="0"/>
              <a:t>22.5.2025</a:t>
            </a:fld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57262" y="7116433"/>
            <a:ext cx="7199575" cy="1593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ASSIFICATION  /  PRESENTATION  /  AUTHOR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956836" y="7116433"/>
            <a:ext cx="442774" cy="1593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B8CDF1A-3CDE-4195-AF23-CDCF2878DEB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3"/>
          </p:nvPr>
        </p:nvSpPr>
        <p:spPr>
          <a:xfrm>
            <a:off x="7557196" y="3781425"/>
            <a:ext cx="2397432" cy="2937606"/>
          </a:xfrm>
          <a:ln w="6350">
            <a:solidFill>
              <a:schemeClr val="tx1"/>
            </a:solidFill>
          </a:ln>
        </p:spPr>
        <p:txBody>
          <a:bodyPr lIns="360000" tIns="360000" rIns="360000" bIns="360000" anchor="ctr" anchorCtr="0"/>
          <a:lstStyle>
            <a:lvl1pPr marL="0" indent="0" algn="ctr">
              <a:buFontTx/>
              <a:buNone/>
              <a:defRPr sz="1053" b="1" cap="all" spc="88" baseline="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3508" b="1" spc="-175" baseline="0">
                <a:solidFill>
                  <a:schemeClr val="tx1"/>
                </a:solidFill>
              </a:defRPr>
            </a:lvl2pPr>
            <a:lvl3pPr marL="0" indent="0" algn="ctr">
              <a:buFontTx/>
              <a:buNone/>
              <a:defRPr sz="1228">
                <a:solidFill>
                  <a:schemeClr val="tx1"/>
                </a:solidFill>
              </a:defRPr>
            </a:lvl3pPr>
            <a:lvl4pPr marL="0" indent="0" algn="ctr">
              <a:buFontTx/>
              <a:buNone/>
              <a:defRPr sz="1228" b="1">
                <a:solidFill>
                  <a:schemeClr val="tx1"/>
                </a:solidFill>
              </a:defRPr>
            </a:lvl4pPr>
            <a:lvl5pPr marL="0" indent="0" algn="ctr">
              <a:buFontTx/>
              <a:buNone/>
              <a:defRPr/>
            </a:lvl5pPr>
            <a:lvl6pPr marL="0" indent="0" algn="ctr">
              <a:buFontTx/>
              <a:buNone/>
              <a:defRPr/>
            </a:lvl6pPr>
            <a:lvl7pPr marL="0" indent="0" algn="ctr">
              <a:buFontTx/>
              <a:buNone/>
              <a:defRPr/>
            </a:lvl7pPr>
            <a:lvl8pPr marL="0" indent="0" algn="ctr">
              <a:buFontTx/>
              <a:buNone/>
              <a:defRPr/>
            </a:lvl8pPr>
            <a:lvl9pPr marL="0" indent="0" algn="ctr">
              <a:buFontTx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>
          <a:xfrm>
            <a:off x="7557196" y="843818"/>
            <a:ext cx="2397432" cy="2937606"/>
          </a:xfrm>
          <a:ln w="6350">
            <a:solidFill>
              <a:schemeClr val="tx1"/>
            </a:solidFill>
          </a:ln>
        </p:spPr>
        <p:txBody>
          <a:bodyPr lIns="360000" tIns="360000" rIns="360000" bIns="360000" anchor="ctr" anchorCtr="0"/>
          <a:lstStyle>
            <a:lvl1pPr marL="0" indent="0" algn="ctr">
              <a:buFontTx/>
              <a:buNone/>
              <a:defRPr sz="1053" b="1" cap="all" spc="88" baseline="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3508" b="1" spc="-175" baseline="0">
                <a:solidFill>
                  <a:schemeClr val="tx1"/>
                </a:solidFill>
              </a:defRPr>
            </a:lvl2pPr>
            <a:lvl3pPr marL="0" indent="0" algn="ctr">
              <a:buFontTx/>
              <a:buNone/>
              <a:defRPr sz="1228">
                <a:solidFill>
                  <a:schemeClr val="tx1"/>
                </a:solidFill>
              </a:defRPr>
            </a:lvl3pPr>
            <a:lvl4pPr marL="0" indent="0" algn="ctr">
              <a:buFontTx/>
              <a:buNone/>
              <a:defRPr sz="1228" b="1">
                <a:solidFill>
                  <a:schemeClr val="tx1"/>
                </a:solidFill>
              </a:defRPr>
            </a:lvl4pPr>
            <a:lvl5pPr marL="0" indent="0" algn="ctr">
              <a:buFontTx/>
              <a:buNone/>
              <a:defRPr/>
            </a:lvl5pPr>
            <a:lvl6pPr marL="0" indent="0" algn="ctr">
              <a:buFontTx/>
              <a:buNone/>
              <a:defRPr/>
            </a:lvl6pPr>
            <a:lvl7pPr marL="0" indent="0" algn="ctr">
              <a:buFontTx/>
              <a:buNone/>
              <a:defRPr/>
            </a:lvl7pPr>
            <a:lvl8pPr marL="0" indent="0" algn="ctr">
              <a:buFontTx/>
              <a:buNone/>
              <a:defRPr/>
            </a:lvl8pPr>
            <a:lvl9pPr marL="0" indent="0" algn="ctr">
              <a:buFontTx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11"/>
          <p:cNvSpPr>
            <a:spLocks noGrp="1"/>
          </p:cNvSpPr>
          <p:nvPr>
            <p:ph type="body" sz="quarter" idx="25"/>
          </p:nvPr>
        </p:nvSpPr>
        <p:spPr>
          <a:xfrm>
            <a:off x="5157338" y="3781425"/>
            <a:ext cx="2399858" cy="2937606"/>
          </a:xfrm>
          <a:ln w="6350">
            <a:solidFill>
              <a:schemeClr val="tx1"/>
            </a:solidFill>
          </a:ln>
        </p:spPr>
        <p:txBody>
          <a:bodyPr lIns="360000" tIns="360000" rIns="360000" bIns="360000" anchor="ctr" anchorCtr="0"/>
          <a:lstStyle>
            <a:lvl1pPr marL="0" indent="0" algn="ctr">
              <a:buFontTx/>
              <a:buNone/>
              <a:defRPr sz="1053" b="1" cap="all" spc="88" baseline="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3508" b="1" spc="-175" baseline="0">
                <a:solidFill>
                  <a:schemeClr val="tx1"/>
                </a:solidFill>
              </a:defRPr>
            </a:lvl2pPr>
            <a:lvl3pPr marL="0" indent="0" algn="ctr">
              <a:buFontTx/>
              <a:buNone/>
              <a:defRPr sz="1228">
                <a:solidFill>
                  <a:schemeClr val="tx1"/>
                </a:solidFill>
              </a:defRPr>
            </a:lvl3pPr>
            <a:lvl4pPr marL="0" indent="0" algn="ctr">
              <a:buFontTx/>
              <a:buNone/>
              <a:defRPr sz="1228" b="1">
                <a:solidFill>
                  <a:schemeClr val="tx1"/>
                </a:solidFill>
              </a:defRPr>
            </a:lvl4pPr>
            <a:lvl5pPr marL="0" indent="0" algn="ctr">
              <a:buFontTx/>
              <a:buNone/>
              <a:defRPr/>
            </a:lvl5pPr>
            <a:lvl6pPr marL="0" indent="0" algn="ctr">
              <a:buFontTx/>
              <a:buNone/>
              <a:defRPr/>
            </a:lvl6pPr>
            <a:lvl7pPr marL="0" indent="0" algn="ctr">
              <a:buFontTx/>
              <a:buNone/>
              <a:defRPr/>
            </a:lvl7pPr>
            <a:lvl8pPr marL="0" indent="0" algn="ctr">
              <a:buFontTx/>
              <a:buNone/>
              <a:defRPr/>
            </a:lvl8pPr>
            <a:lvl9pPr marL="0" indent="0" algn="ctr">
              <a:buFontTx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26"/>
          </p:nvPr>
        </p:nvSpPr>
        <p:spPr>
          <a:xfrm>
            <a:off x="5157338" y="843818"/>
            <a:ext cx="2399858" cy="2937606"/>
          </a:xfrm>
          <a:ln w="6350">
            <a:solidFill>
              <a:schemeClr val="tx1"/>
            </a:solidFill>
          </a:ln>
        </p:spPr>
        <p:txBody>
          <a:bodyPr lIns="360000" tIns="360000" rIns="360000" bIns="360000" anchor="ctr" anchorCtr="0"/>
          <a:lstStyle>
            <a:lvl1pPr marL="0" indent="0" algn="ctr">
              <a:buFontTx/>
              <a:buNone/>
              <a:defRPr sz="1053" b="1" cap="all" spc="88" baseline="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3508" b="1" spc="-175" baseline="0">
                <a:solidFill>
                  <a:schemeClr val="tx1"/>
                </a:solidFill>
              </a:defRPr>
            </a:lvl2pPr>
            <a:lvl3pPr marL="0" indent="0" algn="ctr">
              <a:buFontTx/>
              <a:buNone/>
              <a:defRPr sz="1228">
                <a:solidFill>
                  <a:schemeClr val="tx1"/>
                </a:solidFill>
              </a:defRPr>
            </a:lvl3pPr>
            <a:lvl4pPr marL="0" indent="0" algn="ctr">
              <a:buFontTx/>
              <a:buNone/>
              <a:defRPr sz="1228" b="1">
                <a:solidFill>
                  <a:schemeClr val="tx1"/>
                </a:solidFill>
              </a:defRPr>
            </a:lvl4pPr>
            <a:lvl5pPr marL="0" indent="0" algn="ctr">
              <a:buFontTx/>
              <a:buNone/>
              <a:defRPr/>
            </a:lvl5pPr>
            <a:lvl6pPr marL="0" indent="0" algn="ctr">
              <a:buFontTx/>
              <a:buNone/>
              <a:defRPr/>
            </a:lvl6pPr>
            <a:lvl7pPr marL="0" indent="0" algn="ctr">
              <a:buFontTx/>
              <a:buNone/>
              <a:defRPr/>
            </a:lvl7pPr>
            <a:lvl8pPr marL="0" indent="0" algn="ctr">
              <a:buFontTx/>
              <a:buNone/>
              <a:defRPr/>
            </a:lvl8pPr>
            <a:lvl9pPr marL="0" indent="0" algn="ctr">
              <a:buFontTx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27"/>
          </p:nvPr>
        </p:nvSpPr>
        <p:spPr>
          <a:xfrm>
            <a:off x="738155" y="843818"/>
            <a:ext cx="4419183" cy="5875214"/>
          </a:xfrm>
          <a:ln w="6350">
            <a:solidFill>
              <a:schemeClr val="tx1"/>
            </a:solidFill>
          </a:ln>
        </p:spPr>
        <p:txBody>
          <a:bodyPr lIns="360000" tIns="360000" rIns="360000" bIns="360000" anchor="ctr" anchorCtr="0"/>
          <a:lstStyle>
            <a:lvl1pPr marL="0" indent="0" algn="ctr">
              <a:buFontTx/>
              <a:buNone/>
              <a:defRPr sz="1228" b="1" cap="all" spc="88" baseline="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5263" b="1" spc="-175" baseline="0">
                <a:solidFill>
                  <a:schemeClr val="tx1"/>
                </a:solidFill>
              </a:defRPr>
            </a:lvl2pPr>
            <a:lvl3pPr marL="0" indent="0" algn="ctr">
              <a:buFontTx/>
              <a:buNone/>
              <a:defRPr sz="1228">
                <a:solidFill>
                  <a:schemeClr val="tx1"/>
                </a:solidFill>
              </a:defRPr>
            </a:lvl3pPr>
            <a:lvl4pPr marL="0" indent="0" algn="ctr">
              <a:buFontTx/>
              <a:buNone/>
              <a:defRPr sz="1228" b="1">
                <a:solidFill>
                  <a:schemeClr val="tx1"/>
                </a:solidFill>
              </a:defRPr>
            </a:lvl4pPr>
            <a:lvl5pPr marL="0" indent="0" algn="ctr">
              <a:buFontTx/>
              <a:buNone/>
              <a:defRPr/>
            </a:lvl5pPr>
            <a:lvl6pPr marL="0" indent="0" algn="ctr">
              <a:buFontTx/>
              <a:buNone/>
              <a:defRPr/>
            </a:lvl6pPr>
            <a:lvl7pPr marL="0" indent="0" algn="ctr">
              <a:buFontTx/>
              <a:buNone/>
              <a:defRPr/>
            </a:lvl7pPr>
            <a:lvl8pPr marL="0" indent="0" algn="ctr">
              <a:buFontTx/>
              <a:buNone/>
              <a:defRPr/>
            </a:lvl8pPr>
            <a:lvl9pPr marL="0" indent="0" algn="ctr">
              <a:buFontTx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990365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ory 2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4"/>
          <p:cNvSpPr>
            <a:spLocks noGrp="1"/>
          </p:cNvSpPr>
          <p:nvPr>
            <p:ph type="pic" sz="quarter" idx="19"/>
          </p:nvPr>
        </p:nvSpPr>
        <p:spPr>
          <a:xfrm>
            <a:off x="1" y="0"/>
            <a:ext cx="10693400" cy="75628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sz="1053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1682595" y="7116433"/>
            <a:ext cx="1074668" cy="1593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D0A426D-A7E4-4B39-9E50-547719DD1927}" type="datetime1">
              <a:rPr lang="fi-FI" smtClean="0"/>
              <a:t>22.5.2025</a:t>
            </a:fld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57262" y="7116433"/>
            <a:ext cx="7199575" cy="1593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ASSIFICATION  /  PRESENTATION  /  AUTHOR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956836" y="7116433"/>
            <a:ext cx="442774" cy="1593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B8CDF1A-3CDE-4195-AF23-CDCF2878DEB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3"/>
          </p:nvPr>
        </p:nvSpPr>
        <p:spPr>
          <a:xfrm>
            <a:off x="7557196" y="3781425"/>
            <a:ext cx="2397432" cy="2937606"/>
          </a:xfrm>
          <a:ln w="6350">
            <a:solidFill>
              <a:schemeClr val="tx1"/>
            </a:solidFill>
          </a:ln>
        </p:spPr>
        <p:txBody>
          <a:bodyPr lIns="360000" tIns="360000" rIns="360000" bIns="360000" anchor="ctr" anchorCtr="0"/>
          <a:lstStyle>
            <a:lvl1pPr marL="0" indent="0" algn="ctr">
              <a:buFontTx/>
              <a:buNone/>
              <a:defRPr sz="1053" b="1" cap="all" spc="88" baseline="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3508" b="1" spc="-175" baseline="0">
                <a:solidFill>
                  <a:schemeClr val="tx1"/>
                </a:solidFill>
              </a:defRPr>
            </a:lvl2pPr>
            <a:lvl3pPr marL="0" indent="0" algn="ctr">
              <a:buFontTx/>
              <a:buNone/>
              <a:defRPr sz="1228">
                <a:solidFill>
                  <a:schemeClr val="tx1"/>
                </a:solidFill>
              </a:defRPr>
            </a:lvl3pPr>
            <a:lvl4pPr marL="0" indent="0" algn="ctr">
              <a:buFontTx/>
              <a:buNone/>
              <a:defRPr sz="1228" b="1">
                <a:solidFill>
                  <a:schemeClr val="tx1"/>
                </a:solidFill>
              </a:defRPr>
            </a:lvl4pPr>
            <a:lvl5pPr marL="0" indent="0" algn="ctr">
              <a:buFontTx/>
              <a:buNone/>
              <a:defRPr/>
            </a:lvl5pPr>
            <a:lvl6pPr marL="0" indent="0" algn="ctr">
              <a:buFontTx/>
              <a:buNone/>
              <a:defRPr/>
            </a:lvl6pPr>
            <a:lvl7pPr marL="0" indent="0" algn="ctr">
              <a:buFontTx/>
              <a:buNone/>
              <a:defRPr/>
            </a:lvl7pPr>
            <a:lvl8pPr marL="0" indent="0" algn="ctr">
              <a:buFontTx/>
              <a:buNone/>
              <a:defRPr/>
            </a:lvl8pPr>
            <a:lvl9pPr marL="0" indent="0" algn="ctr">
              <a:buFontTx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Picture Placeholder 14" descr="dont touch/move" title="Kemira Logo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736564" y="7127331"/>
            <a:ext cx="631500" cy="14841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i-FI"/>
              <a:t> 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>
          <a:xfrm>
            <a:off x="7557196" y="843818"/>
            <a:ext cx="2397432" cy="2937606"/>
          </a:xfrm>
          <a:ln w="6350">
            <a:solidFill>
              <a:schemeClr val="tx1"/>
            </a:solidFill>
          </a:ln>
        </p:spPr>
        <p:txBody>
          <a:bodyPr lIns="360000" tIns="360000" rIns="360000" bIns="360000" anchor="ctr" anchorCtr="0"/>
          <a:lstStyle>
            <a:lvl1pPr marL="0" indent="0" algn="ctr">
              <a:buFontTx/>
              <a:buNone/>
              <a:defRPr sz="1053" b="1" cap="all" spc="88" baseline="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3508" b="1" spc="-175" baseline="0">
                <a:solidFill>
                  <a:schemeClr val="tx1"/>
                </a:solidFill>
              </a:defRPr>
            </a:lvl2pPr>
            <a:lvl3pPr marL="0" indent="0" algn="ctr">
              <a:buFontTx/>
              <a:buNone/>
              <a:defRPr sz="1228">
                <a:solidFill>
                  <a:schemeClr val="tx1"/>
                </a:solidFill>
              </a:defRPr>
            </a:lvl3pPr>
            <a:lvl4pPr marL="0" indent="0" algn="ctr">
              <a:buFontTx/>
              <a:buNone/>
              <a:defRPr sz="1228" b="1">
                <a:solidFill>
                  <a:schemeClr val="tx1"/>
                </a:solidFill>
              </a:defRPr>
            </a:lvl4pPr>
            <a:lvl5pPr marL="0" indent="0" algn="ctr">
              <a:buFontTx/>
              <a:buNone/>
              <a:defRPr/>
            </a:lvl5pPr>
            <a:lvl6pPr marL="0" indent="0" algn="ctr">
              <a:buFontTx/>
              <a:buNone/>
              <a:defRPr/>
            </a:lvl6pPr>
            <a:lvl7pPr marL="0" indent="0" algn="ctr">
              <a:buFontTx/>
              <a:buNone/>
              <a:defRPr/>
            </a:lvl7pPr>
            <a:lvl8pPr marL="0" indent="0" algn="ctr">
              <a:buFontTx/>
              <a:buNone/>
              <a:defRPr/>
            </a:lvl8pPr>
            <a:lvl9pPr marL="0" indent="0" algn="ctr">
              <a:buFontTx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11"/>
          <p:cNvSpPr>
            <a:spLocks noGrp="1"/>
          </p:cNvSpPr>
          <p:nvPr>
            <p:ph type="body" sz="quarter" idx="25"/>
          </p:nvPr>
        </p:nvSpPr>
        <p:spPr>
          <a:xfrm>
            <a:off x="5157338" y="3781425"/>
            <a:ext cx="2399858" cy="2937606"/>
          </a:xfrm>
          <a:ln w="6350">
            <a:solidFill>
              <a:schemeClr val="tx1"/>
            </a:solidFill>
          </a:ln>
        </p:spPr>
        <p:txBody>
          <a:bodyPr lIns="360000" tIns="360000" rIns="360000" bIns="360000" anchor="ctr" anchorCtr="0"/>
          <a:lstStyle>
            <a:lvl1pPr marL="0" indent="0" algn="ctr">
              <a:buFontTx/>
              <a:buNone/>
              <a:defRPr sz="1053" b="1" cap="all" spc="88" baseline="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3508" b="1" spc="-175" baseline="0">
                <a:solidFill>
                  <a:schemeClr val="tx1"/>
                </a:solidFill>
              </a:defRPr>
            </a:lvl2pPr>
            <a:lvl3pPr marL="0" indent="0" algn="ctr">
              <a:buFontTx/>
              <a:buNone/>
              <a:defRPr sz="1228">
                <a:solidFill>
                  <a:schemeClr val="tx1"/>
                </a:solidFill>
              </a:defRPr>
            </a:lvl3pPr>
            <a:lvl4pPr marL="0" indent="0" algn="ctr">
              <a:buFontTx/>
              <a:buNone/>
              <a:defRPr sz="1228" b="1">
                <a:solidFill>
                  <a:schemeClr val="tx1"/>
                </a:solidFill>
              </a:defRPr>
            </a:lvl4pPr>
            <a:lvl5pPr marL="0" indent="0" algn="ctr">
              <a:buFontTx/>
              <a:buNone/>
              <a:defRPr/>
            </a:lvl5pPr>
            <a:lvl6pPr marL="0" indent="0" algn="ctr">
              <a:buFontTx/>
              <a:buNone/>
              <a:defRPr/>
            </a:lvl6pPr>
            <a:lvl7pPr marL="0" indent="0" algn="ctr">
              <a:buFontTx/>
              <a:buNone/>
              <a:defRPr/>
            </a:lvl7pPr>
            <a:lvl8pPr marL="0" indent="0" algn="ctr">
              <a:buFontTx/>
              <a:buNone/>
              <a:defRPr/>
            </a:lvl8pPr>
            <a:lvl9pPr marL="0" indent="0" algn="ctr">
              <a:buFontTx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26"/>
          </p:nvPr>
        </p:nvSpPr>
        <p:spPr>
          <a:xfrm>
            <a:off x="5157338" y="843818"/>
            <a:ext cx="2399858" cy="2937606"/>
          </a:xfrm>
          <a:ln w="6350">
            <a:solidFill>
              <a:schemeClr val="tx1"/>
            </a:solidFill>
          </a:ln>
        </p:spPr>
        <p:txBody>
          <a:bodyPr lIns="360000" tIns="360000" rIns="360000" bIns="360000" anchor="ctr" anchorCtr="0"/>
          <a:lstStyle>
            <a:lvl1pPr marL="0" indent="0" algn="ctr">
              <a:buFontTx/>
              <a:buNone/>
              <a:defRPr sz="1053" b="1" cap="all" spc="88" baseline="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3508" b="1" spc="-175" baseline="0">
                <a:solidFill>
                  <a:schemeClr val="tx1"/>
                </a:solidFill>
              </a:defRPr>
            </a:lvl2pPr>
            <a:lvl3pPr marL="0" indent="0" algn="ctr">
              <a:buFontTx/>
              <a:buNone/>
              <a:defRPr sz="1228">
                <a:solidFill>
                  <a:schemeClr val="tx1"/>
                </a:solidFill>
              </a:defRPr>
            </a:lvl3pPr>
            <a:lvl4pPr marL="0" indent="0" algn="ctr">
              <a:buFontTx/>
              <a:buNone/>
              <a:defRPr sz="1228" b="1">
                <a:solidFill>
                  <a:schemeClr val="tx1"/>
                </a:solidFill>
              </a:defRPr>
            </a:lvl4pPr>
            <a:lvl5pPr marL="0" indent="0" algn="ctr">
              <a:buFontTx/>
              <a:buNone/>
              <a:defRPr/>
            </a:lvl5pPr>
            <a:lvl6pPr marL="0" indent="0" algn="ctr">
              <a:buFontTx/>
              <a:buNone/>
              <a:defRPr/>
            </a:lvl6pPr>
            <a:lvl7pPr marL="0" indent="0" algn="ctr">
              <a:buFontTx/>
              <a:buNone/>
              <a:defRPr/>
            </a:lvl7pPr>
            <a:lvl8pPr marL="0" indent="0" algn="ctr">
              <a:buFontTx/>
              <a:buNone/>
              <a:defRPr/>
            </a:lvl8pPr>
            <a:lvl9pPr marL="0" indent="0" algn="ctr">
              <a:buFontTx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27"/>
          </p:nvPr>
        </p:nvSpPr>
        <p:spPr>
          <a:xfrm>
            <a:off x="738155" y="843818"/>
            <a:ext cx="4419183" cy="5875214"/>
          </a:xfrm>
          <a:ln w="6350">
            <a:solidFill>
              <a:schemeClr val="tx1"/>
            </a:solidFill>
          </a:ln>
        </p:spPr>
        <p:txBody>
          <a:bodyPr lIns="360000" tIns="360000" rIns="360000" bIns="360000" anchor="ctr" anchorCtr="0"/>
          <a:lstStyle>
            <a:lvl1pPr marL="0" indent="0" algn="ctr">
              <a:buFontTx/>
              <a:buNone/>
              <a:defRPr sz="1228" b="1" cap="all" spc="88" baseline="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5263" b="1" spc="-175" baseline="0">
                <a:solidFill>
                  <a:schemeClr val="tx1"/>
                </a:solidFill>
              </a:defRPr>
            </a:lvl2pPr>
            <a:lvl3pPr marL="0" indent="0" algn="ctr">
              <a:buFontTx/>
              <a:buNone/>
              <a:defRPr sz="1228">
                <a:solidFill>
                  <a:schemeClr val="tx1"/>
                </a:solidFill>
              </a:defRPr>
            </a:lvl3pPr>
            <a:lvl4pPr marL="0" indent="0" algn="ctr">
              <a:buFontTx/>
              <a:buNone/>
              <a:defRPr sz="1228" b="1">
                <a:solidFill>
                  <a:schemeClr val="tx1"/>
                </a:solidFill>
              </a:defRPr>
            </a:lvl4pPr>
            <a:lvl5pPr marL="0" indent="0" algn="ctr">
              <a:buFontTx/>
              <a:buNone/>
              <a:defRPr/>
            </a:lvl5pPr>
            <a:lvl6pPr marL="0" indent="0" algn="ctr">
              <a:buFontTx/>
              <a:buNone/>
              <a:defRPr/>
            </a:lvl6pPr>
            <a:lvl7pPr marL="0" indent="0" algn="ctr">
              <a:buFontTx/>
              <a:buNone/>
              <a:defRPr/>
            </a:lvl7pPr>
            <a:lvl8pPr marL="0" indent="0" algn="ctr">
              <a:buFontTx/>
              <a:buNone/>
              <a:defRPr/>
            </a:lvl8pPr>
            <a:lvl9pPr marL="0" indent="0" algn="ctr">
              <a:buFontTx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27930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ory 3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4"/>
          <p:cNvSpPr>
            <a:spLocks noGrp="1"/>
          </p:cNvSpPr>
          <p:nvPr>
            <p:ph type="pic" sz="quarter" idx="19"/>
          </p:nvPr>
        </p:nvSpPr>
        <p:spPr>
          <a:xfrm>
            <a:off x="1" y="0"/>
            <a:ext cx="10693400" cy="75628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sz="1053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1682595" y="7116433"/>
            <a:ext cx="1074668" cy="1593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271AD6-FC21-4F7E-B9D4-7536A802F762}" type="datetime1">
              <a:rPr lang="fi-FI" smtClean="0"/>
              <a:t>22.5.2025</a:t>
            </a:fld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57262" y="7116433"/>
            <a:ext cx="7199575" cy="1593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ASSIFICATION  /  PRESENTATION  /  AUTHOR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956836" y="7116433"/>
            <a:ext cx="442774" cy="1593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B8CDF1A-3CDE-4195-AF23-CDCF2878DEB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3"/>
          </p:nvPr>
        </p:nvSpPr>
        <p:spPr>
          <a:xfrm>
            <a:off x="7557196" y="3781425"/>
            <a:ext cx="2397432" cy="2937606"/>
          </a:xfrm>
          <a:ln w="6350">
            <a:solidFill>
              <a:schemeClr val="bg1"/>
            </a:solidFill>
          </a:ln>
        </p:spPr>
        <p:txBody>
          <a:bodyPr lIns="360000" tIns="360000" rIns="360000" bIns="360000" anchor="ctr" anchorCtr="0"/>
          <a:lstStyle>
            <a:lvl1pPr marL="0" indent="0" algn="ctr">
              <a:buFontTx/>
              <a:buNone/>
              <a:defRPr sz="1053" b="1" cap="all" spc="88" baseline="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 sz="3508" b="1" spc="-175" baseline="0">
                <a:solidFill>
                  <a:schemeClr val="bg1"/>
                </a:solidFill>
              </a:defRPr>
            </a:lvl2pPr>
            <a:lvl3pPr marL="0" indent="0" algn="ctr">
              <a:buFontTx/>
              <a:buNone/>
              <a:defRPr sz="1228">
                <a:solidFill>
                  <a:schemeClr val="bg1"/>
                </a:solidFill>
              </a:defRPr>
            </a:lvl3pPr>
            <a:lvl4pPr marL="0" indent="0" algn="ctr">
              <a:buFontTx/>
              <a:buNone/>
              <a:defRPr sz="1228" b="1">
                <a:solidFill>
                  <a:schemeClr val="bg1"/>
                </a:solidFill>
              </a:defRPr>
            </a:lvl4pPr>
            <a:lvl5pPr marL="0" indent="0" algn="ctr">
              <a:buFontTx/>
              <a:buNone/>
              <a:defRPr/>
            </a:lvl5pPr>
            <a:lvl6pPr marL="0" indent="0" algn="ctr">
              <a:buFontTx/>
              <a:buNone/>
              <a:defRPr/>
            </a:lvl6pPr>
            <a:lvl7pPr marL="0" indent="0" algn="ctr">
              <a:buFontTx/>
              <a:buNone/>
              <a:defRPr/>
            </a:lvl7pPr>
            <a:lvl8pPr marL="0" indent="0" algn="ctr">
              <a:buFontTx/>
              <a:buNone/>
              <a:defRPr/>
            </a:lvl8pPr>
            <a:lvl9pPr marL="0" indent="0" algn="ctr">
              <a:buFontTx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>
          <a:xfrm>
            <a:off x="7557196" y="843818"/>
            <a:ext cx="2397432" cy="2937606"/>
          </a:xfrm>
          <a:ln w="6350">
            <a:solidFill>
              <a:schemeClr val="bg1"/>
            </a:solidFill>
          </a:ln>
        </p:spPr>
        <p:txBody>
          <a:bodyPr lIns="360000" tIns="360000" rIns="360000" bIns="360000" anchor="ctr" anchorCtr="0"/>
          <a:lstStyle>
            <a:lvl1pPr marL="0" indent="0" algn="ctr">
              <a:buFontTx/>
              <a:buNone/>
              <a:defRPr sz="1053" b="1" cap="all" spc="88" baseline="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 sz="3508" b="1" spc="-175" baseline="0">
                <a:solidFill>
                  <a:schemeClr val="bg1"/>
                </a:solidFill>
              </a:defRPr>
            </a:lvl2pPr>
            <a:lvl3pPr marL="0" indent="0" algn="ctr">
              <a:buFontTx/>
              <a:buNone/>
              <a:defRPr sz="1228">
                <a:solidFill>
                  <a:schemeClr val="bg1"/>
                </a:solidFill>
              </a:defRPr>
            </a:lvl3pPr>
            <a:lvl4pPr marL="0" indent="0" algn="ctr">
              <a:buFontTx/>
              <a:buNone/>
              <a:defRPr sz="1228" b="1">
                <a:solidFill>
                  <a:schemeClr val="bg1"/>
                </a:solidFill>
              </a:defRPr>
            </a:lvl4pPr>
            <a:lvl5pPr marL="0" indent="0" algn="ctr">
              <a:buFontTx/>
              <a:buNone/>
              <a:defRPr/>
            </a:lvl5pPr>
            <a:lvl6pPr marL="0" indent="0" algn="ctr">
              <a:buFontTx/>
              <a:buNone/>
              <a:defRPr/>
            </a:lvl6pPr>
            <a:lvl7pPr marL="0" indent="0" algn="ctr">
              <a:buFontTx/>
              <a:buNone/>
              <a:defRPr/>
            </a:lvl7pPr>
            <a:lvl8pPr marL="0" indent="0" algn="ctr">
              <a:buFontTx/>
              <a:buNone/>
              <a:defRPr/>
            </a:lvl8pPr>
            <a:lvl9pPr marL="0" indent="0" algn="ctr">
              <a:buFontTx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11"/>
          <p:cNvSpPr>
            <a:spLocks noGrp="1"/>
          </p:cNvSpPr>
          <p:nvPr>
            <p:ph type="body" sz="quarter" idx="25"/>
          </p:nvPr>
        </p:nvSpPr>
        <p:spPr>
          <a:xfrm>
            <a:off x="5157338" y="3781425"/>
            <a:ext cx="2399858" cy="2937606"/>
          </a:xfrm>
          <a:ln w="6350">
            <a:solidFill>
              <a:schemeClr val="bg1"/>
            </a:solidFill>
          </a:ln>
        </p:spPr>
        <p:txBody>
          <a:bodyPr lIns="360000" tIns="360000" rIns="360000" bIns="360000" anchor="ctr" anchorCtr="0"/>
          <a:lstStyle>
            <a:lvl1pPr marL="0" indent="0" algn="ctr">
              <a:buFontTx/>
              <a:buNone/>
              <a:defRPr sz="1053" b="1" cap="all" spc="88" baseline="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 sz="3508" b="1" spc="-175" baseline="0">
                <a:solidFill>
                  <a:schemeClr val="bg1"/>
                </a:solidFill>
              </a:defRPr>
            </a:lvl2pPr>
            <a:lvl3pPr marL="0" indent="0" algn="ctr">
              <a:buFontTx/>
              <a:buNone/>
              <a:defRPr sz="1228">
                <a:solidFill>
                  <a:schemeClr val="bg1"/>
                </a:solidFill>
              </a:defRPr>
            </a:lvl3pPr>
            <a:lvl4pPr marL="0" indent="0" algn="ctr">
              <a:buFontTx/>
              <a:buNone/>
              <a:defRPr sz="1228" b="1">
                <a:solidFill>
                  <a:schemeClr val="bg1"/>
                </a:solidFill>
              </a:defRPr>
            </a:lvl4pPr>
            <a:lvl5pPr marL="0" indent="0" algn="ctr">
              <a:buFontTx/>
              <a:buNone/>
              <a:defRPr/>
            </a:lvl5pPr>
            <a:lvl6pPr marL="0" indent="0" algn="ctr">
              <a:buFontTx/>
              <a:buNone/>
              <a:defRPr/>
            </a:lvl6pPr>
            <a:lvl7pPr marL="0" indent="0" algn="ctr">
              <a:buFontTx/>
              <a:buNone/>
              <a:defRPr/>
            </a:lvl7pPr>
            <a:lvl8pPr marL="0" indent="0" algn="ctr">
              <a:buFontTx/>
              <a:buNone/>
              <a:defRPr/>
            </a:lvl8pPr>
            <a:lvl9pPr marL="0" indent="0" algn="ctr">
              <a:buFontTx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26"/>
          </p:nvPr>
        </p:nvSpPr>
        <p:spPr>
          <a:xfrm>
            <a:off x="5157338" y="843818"/>
            <a:ext cx="2399858" cy="2937606"/>
          </a:xfrm>
          <a:ln w="6350">
            <a:solidFill>
              <a:schemeClr val="bg1"/>
            </a:solidFill>
          </a:ln>
        </p:spPr>
        <p:txBody>
          <a:bodyPr lIns="360000" tIns="360000" rIns="360000" bIns="360000" anchor="ctr" anchorCtr="0"/>
          <a:lstStyle>
            <a:lvl1pPr marL="0" indent="0" algn="ctr">
              <a:buFontTx/>
              <a:buNone/>
              <a:defRPr sz="1053" b="1" cap="all" spc="88" baseline="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 sz="3508" b="1" spc="-175" baseline="0">
                <a:solidFill>
                  <a:schemeClr val="bg1"/>
                </a:solidFill>
              </a:defRPr>
            </a:lvl2pPr>
            <a:lvl3pPr marL="0" indent="0" algn="ctr">
              <a:buFontTx/>
              <a:buNone/>
              <a:defRPr sz="1228">
                <a:solidFill>
                  <a:schemeClr val="bg1"/>
                </a:solidFill>
              </a:defRPr>
            </a:lvl3pPr>
            <a:lvl4pPr marL="0" indent="0" algn="ctr">
              <a:buFontTx/>
              <a:buNone/>
              <a:defRPr sz="1228" b="1">
                <a:solidFill>
                  <a:schemeClr val="bg1"/>
                </a:solidFill>
              </a:defRPr>
            </a:lvl4pPr>
            <a:lvl5pPr marL="0" indent="0" algn="ctr">
              <a:buFontTx/>
              <a:buNone/>
              <a:defRPr/>
            </a:lvl5pPr>
            <a:lvl6pPr marL="0" indent="0" algn="ctr">
              <a:buFontTx/>
              <a:buNone/>
              <a:defRPr/>
            </a:lvl6pPr>
            <a:lvl7pPr marL="0" indent="0" algn="ctr">
              <a:buFontTx/>
              <a:buNone/>
              <a:defRPr/>
            </a:lvl7pPr>
            <a:lvl8pPr marL="0" indent="0" algn="ctr">
              <a:buFontTx/>
              <a:buNone/>
              <a:defRPr/>
            </a:lvl8pPr>
            <a:lvl9pPr marL="0" indent="0" algn="ctr">
              <a:buFontTx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27"/>
          </p:nvPr>
        </p:nvSpPr>
        <p:spPr>
          <a:xfrm>
            <a:off x="738155" y="843818"/>
            <a:ext cx="4419183" cy="5875214"/>
          </a:xfrm>
          <a:ln w="6350">
            <a:solidFill>
              <a:schemeClr val="bg1"/>
            </a:solidFill>
          </a:ln>
        </p:spPr>
        <p:txBody>
          <a:bodyPr lIns="360000" tIns="360000" rIns="360000" bIns="360000" anchor="ctr" anchorCtr="0"/>
          <a:lstStyle>
            <a:lvl1pPr marL="0" indent="0" algn="ctr">
              <a:buFontTx/>
              <a:buNone/>
              <a:defRPr sz="1228" b="1" cap="all" spc="88" baseline="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 sz="5263" b="1" spc="-175" baseline="0">
                <a:solidFill>
                  <a:schemeClr val="bg1"/>
                </a:solidFill>
              </a:defRPr>
            </a:lvl2pPr>
            <a:lvl3pPr marL="0" indent="0" algn="ctr">
              <a:buFontTx/>
              <a:buNone/>
              <a:defRPr sz="1228">
                <a:solidFill>
                  <a:schemeClr val="bg1"/>
                </a:solidFill>
              </a:defRPr>
            </a:lvl3pPr>
            <a:lvl4pPr marL="0" indent="0" algn="ctr">
              <a:buFontTx/>
              <a:buNone/>
              <a:defRPr sz="1228" b="1">
                <a:solidFill>
                  <a:schemeClr val="bg1"/>
                </a:solidFill>
              </a:defRPr>
            </a:lvl4pPr>
            <a:lvl5pPr marL="0" indent="0" algn="ctr">
              <a:buFontTx/>
              <a:buNone/>
              <a:defRPr/>
            </a:lvl5pPr>
            <a:lvl6pPr marL="0" indent="0" algn="ctr">
              <a:buFontTx/>
              <a:buNone/>
              <a:defRPr/>
            </a:lvl6pPr>
            <a:lvl7pPr marL="0" indent="0" algn="ctr">
              <a:buFontTx/>
              <a:buNone/>
              <a:defRPr/>
            </a:lvl7pPr>
            <a:lvl8pPr marL="0" indent="0" algn="ctr">
              <a:buFontTx/>
              <a:buNone/>
              <a:defRPr/>
            </a:lvl8pPr>
            <a:lvl9pPr marL="0" indent="0" algn="ctr">
              <a:buFontTx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Picture Placeholder 14" descr="dont touch/move" title="Kemira Logo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736564" y="7127331"/>
            <a:ext cx="631500" cy="148411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i-FI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03466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ory PIC 4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4"/>
          <p:cNvSpPr>
            <a:spLocks noGrp="1"/>
          </p:cNvSpPr>
          <p:nvPr>
            <p:ph type="pic" sz="quarter" idx="19"/>
          </p:nvPr>
        </p:nvSpPr>
        <p:spPr>
          <a:xfrm>
            <a:off x="1" y="0"/>
            <a:ext cx="10693400" cy="75628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sz="1053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A47CF5-6D26-4524-A200-FD4AABFA6F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5171" y="843819"/>
            <a:ext cx="9223058" cy="5875214"/>
          </a:xfrm>
        </p:spPr>
        <p:txBody>
          <a:bodyPr anchor="ctr" anchorCtr="0"/>
          <a:lstStyle>
            <a:lvl1pPr algn="ctr">
              <a:defRPr b="1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>
                <a:solidFill>
                  <a:schemeClr val="tx1"/>
                </a:solidFill>
              </a:defRPr>
            </a:lvl2pPr>
            <a:lvl3pPr marL="0" indent="0" algn="ctr">
              <a:buFontTx/>
              <a:buNone/>
              <a:tabLst/>
              <a:defRPr/>
            </a:lvl3pPr>
            <a:lvl4pPr marL="0" indent="0" algn="ctr">
              <a:buFontTx/>
              <a:buNone/>
              <a:defRPr/>
            </a:lvl4pPr>
            <a:lvl5pPr marL="0" indent="0" algn="ctr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FB8DDAC-16CE-460D-A897-AA5F4198BCB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736565" y="446420"/>
            <a:ext cx="9220272" cy="397399"/>
          </a:xfrm>
        </p:spPr>
        <p:txBody>
          <a:bodyPr anchor="t" anchorCtr="0"/>
          <a:lstStyle>
            <a:lvl1pPr marL="0" indent="0" algn="ctr">
              <a:spcBef>
                <a:spcPts val="0"/>
              </a:spcBef>
              <a:buNone/>
              <a:defRPr sz="1228" b="1" cap="all" spc="88" baseline="0">
                <a:solidFill>
                  <a:schemeClr val="tx1"/>
                </a:solidFill>
              </a:defRPr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 14" descr="dont touch/move" title="Kemira Logo">
            <a:extLst>
              <a:ext uri="{FF2B5EF4-FFF2-40B4-BE49-F238E27FC236}">
                <a16:creationId xmlns:a16="http://schemas.microsoft.com/office/drawing/2014/main" id="{B80A52BC-900B-49C3-9CED-B2CD800A042A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736564" y="7127331"/>
            <a:ext cx="631500" cy="14841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i-FI"/>
              <a:t> 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29B973C-24A5-475F-ACC1-007D0C9643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6CC98A56-8E2C-45CF-ADAF-7E5A52E121A6}" type="datetime1">
              <a:rPr lang="fi-FI" smtClean="0"/>
              <a:t>22.5.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E446DB-80E0-4AA2-98B6-F7616E97BF25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CLASSIFICATION  /  PRESENTATION  /  AUTH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6437CD-69A0-483D-AF6F-2A035D94D3A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9B8CDF1A-3CDE-4195-AF23-CDCF2878DEB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5658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ory PIC 4th ne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4"/>
          <p:cNvSpPr>
            <a:spLocks noGrp="1"/>
          </p:cNvSpPr>
          <p:nvPr>
            <p:ph type="pic" sz="quarter" idx="19"/>
          </p:nvPr>
        </p:nvSpPr>
        <p:spPr>
          <a:xfrm>
            <a:off x="1" y="0"/>
            <a:ext cx="10693400" cy="75628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sz="1053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5171" y="843818"/>
            <a:ext cx="9223058" cy="5875214"/>
          </a:xfrm>
        </p:spPr>
        <p:txBody>
          <a:bodyPr anchor="ctr" anchorCtr="0"/>
          <a:lstStyle>
            <a:lvl1pPr algn="ctr">
              <a:defRPr b="1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</a:defRPr>
            </a:lvl2pPr>
            <a:lvl3pPr marL="0" indent="0" algn="ctr">
              <a:buFontTx/>
              <a:buNone/>
              <a:tabLst/>
              <a:defRPr/>
            </a:lvl3pPr>
            <a:lvl4pPr marL="0" indent="0" algn="ctr">
              <a:buFontTx/>
              <a:buNone/>
              <a:defRPr/>
            </a:lvl4pPr>
            <a:lvl5pPr marL="0" indent="0" algn="ctr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1682595" y="7116433"/>
            <a:ext cx="1074668" cy="1593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E59A8CC-4203-448D-BF6F-3AA031F16BF1}" type="datetime1">
              <a:rPr lang="fi-FI" smtClean="0"/>
              <a:t>22.5.2025</a:t>
            </a:fld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57262" y="7116433"/>
            <a:ext cx="7199575" cy="1593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ASSIFICATION  /  PRESENTATION  /  AUTHOR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956836" y="7116433"/>
            <a:ext cx="442774" cy="1593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B8CDF1A-3CDE-4195-AF23-CDCF2878DEB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Picture Placeholder 14" descr="dont touch/move" title="Kemira Logo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736564" y="7127331"/>
            <a:ext cx="631500" cy="148411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i-FI"/>
              <a:t> 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5"/>
          </p:nvPr>
        </p:nvSpPr>
        <p:spPr>
          <a:xfrm>
            <a:off x="736565" y="446420"/>
            <a:ext cx="9220272" cy="397399"/>
          </a:xfrm>
        </p:spPr>
        <p:txBody>
          <a:bodyPr anchor="t" anchorCtr="0"/>
          <a:lstStyle>
            <a:lvl1pPr marL="0" indent="0" algn="ctr">
              <a:spcBef>
                <a:spcPts val="0"/>
              </a:spcBef>
              <a:buNone/>
              <a:defRPr sz="1228" b="1" cap="all" spc="88" baseline="0">
                <a:solidFill>
                  <a:schemeClr val="bg1"/>
                </a:solidFill>
              </a:defRPr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4931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Jus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4"/>
          <p:cNvSpPr>
            <a:spLocks noGrp="1"/>
          </p:cNvSpPr>
          <p:nvPr>
            <p:ph type="pic" sz="quarter" idx="19"/>
          </p:nvPr>
        </p:nvSpPr>
        <p:spPr>
          <a:xfrm>
            <a:off x="1" y="0"/>
            <a:ext cx="10693400" cy="75628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sz="1053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1682595" y="7116433"/>
            <a:ext cx="1074668" cy="1593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F427E2E-1D0B-40A4-A767-43B1CDA2C2AB}" type="datetime1">
              <a:rPr lang="fi-FI" smtClean="0"/>
              <a:t>22.5.2025</a:t>
            </a:fld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57262" y="7116433"/>
            <a:ext cx="7199575" cy="1593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ASSIFICATION  /  PRESENTATION  /  AUTHOR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956836" y="7116433"/>
            <a:ext cx="442774" cy="1593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B8CDF1A-3CDE-4195-AF23-CDCF2878DEB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idx="15"/>
          </p:nvPr>
        </p:nvSpPr>
        <p:spPr>
          <a:xfrm>
            <a:off x="736565" y="446420"/>
            <a:ext cx="9220272" cy="397399"/>
          </a:xfrm>
        </p:spPr>
        <p:txBody>
          <a:bodyPr anchor="t" anchorCtr="0"/>
          <a:lstStyle>
            <a:lvl1pPr marL="0" indent="0" algn="ctr">
              <a:spcBef>
                <a:spcPts val="0"/>
              </a:spcBef>
              <a:buNone/>
              <a:defRPr sz="1228" b="1" cap="all" spc="88" baseline="0">
                <a:solidFill>
                  <a:schemeClr val="tx1"/>
                </a:solidFill>
              </a:defRPr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21"/>
          </p:nvPr>
        </p:nvSpPr>
        <p:spPr>
          <a:xfrm>
            <a:off x="3896835" y="2034431"/>
            <a:ext cx="2899730" cy="3493988"/>
          </a:xfrm>
          <a:ln w="6350">
            <a:solidFill>
              <a:schemeClr val="tx1"/>
            </a:solidFill>
          </a:ln>
        </p:spPr>
        <p:txBody>
          <a:bodyPr lIns="360000" tIns="360000" rIns="360000" bIns="360000" anchor="ctr" anchorCtr="0"/>
          <a:lstStyle>
            <a:lvl1pPr marL="0" indent="0" algn="ctr">
              <a:buFontTx/>
              <a:buNone/>
              <a:defRPr sz="1228" b="1" cap="all" spc="88" baseline="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3508" b="1" spc="-175" baseline="0">
                <a:solidFill>
                  <a:schemeClr val="tx1"/>
                </a:solidFill>
              </a:defRPr>
            </a:lvl2pPr>
            <a:lvl3pPr marL="0" indent="0" algn="ctr">
              <a:buFontTx/>
              <a:buNone/>
              <a:defRPr sz="1228">
                <a:solidFill>
                  <a:schemeClr val="tx1"/>
                </a:solidFill>
              </a:defRPr>
            </a:lvl3pPr>
            <a:lvl4pPr marL="0" indent="0" algn="ctr">
              <a:buFontTx/>
              <a:buNone/>
              <a:defRPr sz="1228" b="1">
                <a:solidFill>
                  <a:schemeClr val="tx1"/>
                </a:solidFill>
              </a:defRPr>
            </a:lvl4pPr>
            <a:lvl5pPr marL="0" indent="0" algn="ctr">
              <a:buFontTx/>
              <a:buNone/>
              <a:defRPr/>
            </a:lvl5pPr>
            <a:lvl6pPr marL="0" indent="0" algn="ctr">
              <a:buFontTx/>
              <a:buNone/>
              <a:defRPr/>
            </a:lvl6pPr>
            <a:lvl7pPr marL="0" indent="0" algn="ctr">
              <a:buFontTx/>
              <a:buNone/>
              <a:defRPr/>
            </a:lvl7pPr>
            <a:lvl8pPr marL="0" indent="0" algn="ctr">
              <a:buFontTx/>
              <a:buNone/>
              <a:defRPr/>
            </a:lvl8pPr>
            <a:lvl9pPr marL="0" indent="0" algn="ctr">
              <a:buFontTx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Text Placeholder 11"/>
          <p:cNvSpPr>
            <a:spLocks noGrp="1"/>
          </p:cNvSpPr>
          <p:nvPr>
            <p:ph type="body" sz="quarter" idx="22"/>
          </p:nvPr>
        </p:nvSpPr>
        <p:spPr>
          <a:xfrm>
            <a:off x="736564" y="2034431"/>
            <a:ext cx="2899730" cy="3493988"/>
          </a:xfrm>
          <a:ln w="6350">
            <a:solidFill>
              <a:schemeClr val="tx1"/>
            </a:solidFill>
          </a:ln>
        </p:spPr>
        <p:txBody>
          <a:bodyPr lIns="360000" tIns="360000" rIns="360000" bIns="360000" anchor="ctr" anchorCtr="0"/>
          <a:lstStyle>
            <a:lvl1pPr marL="0" indent="0" algn="ctr">
              <a:buFontTx/>
              <a:buNone/>
              <a:defRPr sz="1228" b="1" cap="all" spc="88" baseline="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3508" b="1" spc="-175" baseline="0">
                <a:solidFill>
                  <a:schemeClr val="tx1"/>
                </a:solidFill>
              </a:defRPr>
            </a:lvl2pPr>
            <a:lvl3pPr marL="0" indent="0" algn="ctr">
              <a:buFontTx/>
              <a:buNone/>
              <a:defRPr sz="1228">
                <a:solidFill>
                  <a:schemeClr val="tx1"/>
                </a:solidFill>
              </a:defRPr>
            </a:lvl3pPr>
            <a:lvl4pPr marL="0" indent="0" algn="ctr">
              <a:buFontTx/>
              <a:buNone/>
              <a:defRPr sz="1228" b="1">
                <a:solidFill>
                  <a:schemeClr val="tx1"/>
                </a:solidFill>
              </a:defRPr>
            </a:lvl4pPr>
            <a:lvl5pPr marL="0" indent="0" algn="ctr">
              <a:buFontTx/>
              <a:buNone/>
              <a:defRPr/>
            </a:lvl5pPr>
            <a:lvl6pPr marL="0" indent="0" algn="ctr">
              <a:buFontTx/>
              <a:buNone/>
              <a:defRPr/>
            </a:lvl6pPr>
            <a:lvl7pPr marL="0" indent="0" algn="ctr">
              <a:buFontTx/>
              <a:buNone/>
              <a:defRPr/>
            </a:lvl7pPr>
            <a:lvl8pPr marL="0" indent="0" algn="ctr">
              <a:buFontTx/>
              <a:buNone/>
              <a:defRPr/>
            </a:lvl8pPr>
            <a:lvl9pPr marL="0" indent="0" algn="ctr">
              <a:buFontTx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3"/>
          </p:nvPr>
        </p:nvSpPr>
        <p:spPr>
          <a:xfrm>
            <a:off x="7054897" y="2034431"/>
            <a:ext cx="2899730" cy="3493988"/>
          </a:xfrm>
          <a:ln w="6350">
            <a:solidFill>
              <a:schemeClr val="tx1"/>
            </a:solidFill>
          </a:ln>
        </p:spPr>
        <p:txBody>
          <a:bodyPr lIns="360000" tIns="360000" rIns="360000" bIns="360000" anchor="ctr" anchorCtr="0"/>
          <a:lstStyle>
            <a:lvl1pPr marL="0" indent="0" algn="ctr">
              <a:buFontTx/>
              <a:buNone/>
              <a:defRPr sz="1228" b="1" cap="all" spc="88" baseline="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3508" b="1" spc="-175" baseline="0">
                <a:solidFill>
                  <a:schemeClr val="tx1"/>
                </a:solidFill>
              </a:defRPr>
            </a:lvl2pPr>
            <a:lvl3pPr marL="0" indent="0" algn="ctr">
              <a:buFontTx/>
              <a:buNone/>
              <a:defRPr sz="1228">
                <a:solidFill>
                  <a:schemeClr val="tx1"/>
                </a:solidFill>
              </a:defRPr>
            </a:lvl3pPr>
            <a:lvl4pPr marL="0" indent="0" algn="ctr">
              <a:buFontTx/>
              <a:buNone/>
              <a:defRPr sz="1228" b="1">
                <a:solidFill>
                  <a:schemeClr val="tx1"/>
                </a:solidFill>
              </a:defRPr>
            </a:lvl4pPr>
            <a:lvl5pPr marL="0" indent="0" algn="ctr">
              <a:buFontTx/>
              <a:buNone/>
              <a:defRPr/>
            </a:lvl5pPr>
            <a:lvl6pPr marL="0" indent="0" algn="ctr">
              <a:buFontTx/>
              <a:buNone/>
              <a:defRPr/>
            </a:lvl6pPr>
            <a:lvl7pPr marL="0" indent="0" algn="ctr">
              <a:buFontTx/>
              <a:buNone/>
              <a:defRPr/>
            </a:lvl7pPr>
            <a:lvl8pPr marL="0" indent="0" algn="ctr">
              <a:buFontTx/>
              <a:buNone/>
              <a:defRPr/>
            </a:lvl8pPr>
            <a:lvl9pPr marL="0" indent="0" algn="ctr">
              <a:buFontTx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Picture Placeholder 14" descr="dont touch/move" title="Kemira Logo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736564" y="7127331"/>
            <a:ext cx="631500" cy="14841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i-FI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74590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Just Boxes ne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4"/>
          <p:cNvSpPr>
            <a:spLocks noGrp="1"/>
          </p:cNvSpPr>
          <p:nvPr>
            <p:ph type="pic" sz="quarter" idx="19"/>
          </p:nvPr>
        </p:nvSpPr>
        <p:spPr>
          <a:xfrm>
            <a:off x="1" y="0"/>
            <a:ext cx="10693400" cy="75628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sz="1053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1682595" y="7116433"/>
            <a:ext cx="1074668" cy="1593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A87E63D-6203-4B21-ACCE-234494F5D59F}" type="datetime1">
              <a:rPr lang="fi-FI" smtClean="0"/>
              <a:t>22.5.2025</a:t>
            </a:fld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57262" y="7116433"/>
            <a:ext cx="7199575" cy="1593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ASSIFICATION  /  PRESENTATION  /  AUTHOR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956836" y="7116433"/>
            <a:ext cx="442774" cy="1593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B8CDF1A-3CDE-4195-AF23-CDCF2878DEB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Picture Placeholder 14" descr="dont touch/move" title="Kemira Logo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736564" y="7127331"/>
            <a:ext cx="631500" cy="148411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i-FI"/>
              <a:t> 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5"/>
          </p:nvPr>
        </p:nvSpPr>
        <p:spPr>
          <a:xfrm>
            <a:off x="736565" y="446420"/>
            <a:ext cx="9220272" cy="397399"/>
          </a:xfrm>
        </p:spPr>
        <p:txBody>
          <a:bodyPr anchor="t" anchorCtr="0"/>
          <a:lstStyle>
            <a:lvl1pPr marL="0" indent="0" algn="ctr">
              <a:spcBef>
                <a:spcPts val="0"/>
              </a:spcBef>
              <a:buNone/>
              <a:defRPr sz="1228" b="1" cap="all" spc="88" baseline="0">
                <a:solidFill>
                  <a:schemeClr val="bg1"/>
                </a:solidFill>
              </a:defRPr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21"/>
          </p:nvPr>
        </p:nvSpPr>
        <p:spPr>
          <a:xfrm>
            <a:off x="3896835" y="2034431"/>
            <a:ext cx="2899730" cy="3493988"/>
          </a:xfrm>
          <a:ln w="6350">
            <a:solidFill>
              <a:schemeClr val="bg1"/>
            </a:solidFill>
          </a:ln>
        </p:spPr>
        <p:txBody>
          <a:bodyPr lIns="360000" tIns="360000" rIns="360000" bIns="360000" anchor="ctr" anchorCtr="0"/>
          <a:lstStyle>
            <a:lvl1pPr marL="0" indent="0" algn="ctr">
              <a:buFontTx/>
              <a:buNone/>
              <a:defRPr sz="1228" b="1" cap="all" spc="88" baseline="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 sz="3508" b="1" spc="-175" baseline="0">
                <a:solidFill>
                  <a:schemeClr val="bg1"/>
                </a:solidFill>
              </a:defRPr>
            </a:lvl2pPr>
            <a:lvl3pPr marL="0" indent="0" algn="ctr">
              <a:buFontTx/>
              <a:buNone/>
              <a:defRPr sz="1228">
                <a:solidFill>
                  <a:schemeClr val="bg1"/>
                </a:solidFill>
              </a:defRPr>
            </a:lvl3pPr>
            <a:lvl4pPr marL="0" indent="0" algn="ctr">
              <a:buFontTx/>
              <a:buNone/>
              <a:defRPr sz="1228" b="1">
                <a:solidFill>
                  <a:schemeClr val="bg1"/>
                </a:solidFill>
              </a:defRPr>
            </a:lvl4pPr>
            <a:lvl5pPr marL="0" indent="0" algn="ctr">
              <a:buFontTx/>
              <a:buNone/>
              <a:defRPr/>
            </a:lvl5pPr>
            <a:lvl6pPr marL="0" indent="0" algn="ctr">
              <a:buFontTx/>
              <a:buNone/>
              <a:defRPr/>
            </a:lvl6pPr>
            <a:lvl7pPr marL="0" indent="0" algn="ctr">
              <a:buFontTx/>
              <a:buNone/>
              <a:defRPr/>
            </a:lvl7pPr>
            <a:lvl8pPr marL="0" indent="0" algn="ctr">
              <a:buFontTx/>
              <a:buNone/>
              <a:defRPr/>
            </a:lvl8pPr>
            <a:lvl9pPr marL="0" indent="0" algn="ctr">
              <a:buFontTx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Text Placeholder 11"/>
          <p:cNvSpPr>
            <a:spLocks noGrp="1"/>
          </p:cNvSpPr>
          <p:nvPr>
            <p:ph type="body" sz="quarter" idx="22"/>
          </p:nvPr>
        </p:nvSpPr>
        <p:spPr>
          <a:xfrm>
            <a:off x="736564" y="2034431"/>
            <a:ext cx="2899730" cy="3493988"/>
          </a:xfrm>
          <a:ln w="6350">
            <a:solidFill>
              <a:schemeClr val="bg1"/>
            </a:solidFill>
          </a:ln>
        </p:spPr>
        <p:txBody>
          <a:bodyPr lIns="360000" tIns="360000" rIns="360000" bIns="360000" anchor="ctr" anchorCtr="0"/>
          <a:lstStyle>
            <a:lvl1pPr marL="0" indent="0" algn="ctr">
              <a:buFontTx/>
              <a:buNone/>
              <a:defRPr sz="1228" b="1" cap="all" spc="88" baseline="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 sz="3508" b="1" spc="-175" baseline="0">
                <a:solidFill>
                  <a:schemeClr val="bg1"/>
                </a:solidFill>
              </a:defRPr>
            </a:lvl2pPr>
            <a:lvl3pPr marL="0" indent="0" algn="ctr">
              <a:buFontTx/>
              <a:buNone/>
              <a:defRPr sz="1228">
                <a:solidFill>
                  <a:schemeClr val="bg1"/>
                </a:solidFill>
              </a:defRPr>
            </a:lvl3pPr>
            <a:lvl4pPr marL="0" indent="0" algn="ctr">
              <a:buFontTx/>
              <a:buNone/>
              <a:defRPr sz="1228" b="1">
                <a:solidFill>
                  <a:schemeClr val="bg1"/>
                </a:solidFill>
              </a:defRPr>
            </a:lvl4pPr>
            <a:lvl5pPr marL="0" indent="0" algn="ctr">
              <a:buFontTx/>
              <a:buNone/>
              <a:defRPr/>
            </a:lvl5pPr>
            <a:lvl6pPr marL="0" indent="0" algn="ctr">
              <a:buFontTx/>
              <a:buNone/>
              <a:defRPr/>
            </a:lvl6pPr>
            <a:lvl7pPr marL="0" indent="0" algn="ctr">
              <a:buFontTx/>
              <a:buNone/>
              <a:defRPr/>
            </a:lvl7pPr>
            <a:lvl8pPr marL="0" indent="0" algn="ctr">
              <a:buFontTx/>
              <a:buNone/>
              <a:defRPr/>
            </a:lvl8pPr>
            <a:lvl9pPr marL="0" indent="0" algn="ctr">
              <a:buFontTx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3"/>
          </p:nvPr>
        </p:nvSpPr>
        <p:spPr>
          <a:xfrm>
            <a:off x="7054897" y="2034431"/>
            <a:ext cx="2899730" cy="3493988"/>
          </a:xfrm>
          <a:ln w="6350">
            <a:solidFill>
              <a:schemeClr val="bg1"/>
            </a:solidFill>
          </a:ln>
        </p:spPr>
        <p:txBody>
          <a:bodyPr lIns="360000" tIns="360000" rIns="360000" bIns="360000" anchor="ctr" anchorCtr="0"/>
          <a:lstStyle>
            <a:lvl1pPr marL="0" indent="0" algn="ctr">
              <a:buFontTx/>
              <a:buNone/>
              <a:defRPr sz="1228" b="1" cap="all" spc="88" baseline="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 sz="3508" b="1" spc="-175" baseline="0">
                <a:solidFill>
                  <a:schemeClr val="bg1"/>
                </a:solidFill>
              </a:defRPr>
            </a:lvl2pPr>
            <a:lvl3pPr marL="0" indent="0" algn="ctr">
              <a:buFontTx/>
              <a:buNone/>
              <a:defRPr sz="1228">
                <a:solidFill>
                  <a:schemeClr val="bg1"/>
                </a:solidFill>
              </a:defRPr>
            </a:lvl3pPr>
            <a:lvl4pPr marL="0" indent="0" algn="ctr">
              <a:buFontTx/>
              <a:buNone/>
              <a:defRPr sz="1228" b="1">
                <a:solidFill>
                  <a:schemeClr val="bg1"/>
                </a:solidFill>
              </a:defRPr>
            </a:lvl4pPr>
            <a:lvl5pPr marL="0" indent="0" algn="ctr">
              <a:buFontTx/>
              <a:buNone/>
              <a:defRPr/>
            </a:lvl5pPr>
            <a:lvl6pPr marL="0" indent="0" algn="ctr">
              <a:buFontTx/>
              <a:buNone/>
              <a:defRPr/>
            </a:lvl6pPr>
            <a:lvl7pPr marL="0" indent="0" algn="ctr">
              <a:buFontTx/>
              <a:buNone/>
              <a:defRPr/>
            </a:lvl7pPr>
            <a:lvl8pPr marL="0" indent="0" algn="ctr">
              <a:buFontTx/>
              <a:buNone/>
              <a:defRPr/>
            </a:lvl8pPr>
            <a:lvl9pPr marL="0" indent="0" algn="ctr">
              <a:buFontTx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850839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5171" y="1874958"/>
            <a:ext cx="9223058" cy="48440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736565" y="446420"/>
            <a:ext cx="9220272" cy="397399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228" b="1" cap="all" spc="88" baseline="0"/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735171" y="843818"/>
            <a:ext cx="9221666" cy="79356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51CDF61-4757-4F1D-9585-C1FBFB4B0EB0}" type="datetime1">
              <a:rPr lang="fi-FI" smtClean="0"/>
              <a:t>22.5.2025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LASSIFICATION  /  PRESENTATION  /  AUTHOR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B8CDF1A-3CDE-4195-AF23-CDCF2878DEB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8364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5171" y="1874958"/>
            <a:ext cx="4485216" cy="190646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73014" y="843818"/>
            <a:ext cx="4485215" cy="58752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768A8C-D979-4EC8-894E-5281E33A402B}" type="datetime1">
              <a:rPr lang="fi-FI" smtClean="0"/>
              <a:t>22.5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LASSIFICATION  /  PRESENTATION  / 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8CDF1A-3CDE-4195-AF23-CDCF2878DEB5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36564" y="4098296"/>
            <a:ext cx="4483431" cy="26207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5"/>
          </p:nvPr>
        </p:nvSpPr>
        <p:spPr>
          <a:xfrm>
            <a:off x="736565" y="446419"/>
            <a:ext cx="4483821" cy="396525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228" b="1" cap="all" spc="88" baseline="0"/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9810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Content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5171" y="1874957"/>
            <a:ext cx="4233095" cy="190496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E6C0F36-5CD9-4270-879F-62012C27A641}" type="datetime1">
              <a:rPr lang="fi-FI" smtClean="0"/>
              <a:t>22.5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CLASSIFICATION  /  PRESENTATION  / 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B8CDF1A-3CDE-4195-AF23-CDCF2878DEB5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36564" y="4098294"/>
            <a:ext cx="4231411" cy="26207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5"/>
          </p:nvPr>
        </p:nvSpPr>
        <p:spPr>
          <a:xfrm>
            <a:off x="736565" y="446419"/>
            <a:ext cx="4231779" cy="39740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228" b="1" cap="all" spc="88" baseline="0">
                <a:solidFill>
                  <a:schemeClr val="tx1"/>
                </a:solidFill>
              </a:defRPr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5346701" y="1"/>
            <a:ext cx="5346700" cy="6719031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143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Content PIC 2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419" y="843299"/>
            <a:ext cx="5346282" cy="6719551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25424" y="1874958"/>
            <a:ext cx="4231412" cy="190496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2409F94-771B-448E-813E-D40F9DEAAA44}" type="datetime1">
              <a:rPr lang="fi-FI" smtClean="0"/>
              <a:t>22.5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CLASSIFICATION  /  PRESENTATION  / 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B8CDF1A-3CDE-4195-AF23-CDCF2878DEB5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726998" y="4098296"/>
            <a:ext cx="4229729" cy="262073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5"/>
          </p:nvPr>
        </p:nvSpPr>
        <p:spPr>
          <a:xfrm>
            <a:off x="5727007" y="446420"/>
            <a:ext cx="4229829" cy="397399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228" b="1" cap="all" spc="88" baseline="0">
                <a:solidFill>
                  <a:schemeClr val="tx1"/>
                </a:solidFill>
              </a:defRPr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14" descr="dont touch/move" title="Kemira Logo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736564" y="7127331"/>
            <a:ext cx="631500" cy="14841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i-FI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14446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Content PIC 2nd Ne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419" y="843299"/>
            <a:ext cx="5346282" cy="6719551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25424" y="1874958"/>
            <a:ext cx="4231412" cy="190496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52409F94-771B-448E-813E-D40F9DEAAA44}" type="datetime1">
              <a:rPr lang="fi-FI" smtClean="0"/>
              <a:pPr>
                <a:defRPr/>
              </a:pPr>
              <a:t>22.5.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CLASSIFICATION  /  PRESENTATION  / 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B8CDF1A-3CDE-4195-AF23-CDCF2878DEB5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726998" y="4098296"/>
            <a:ext cx="4229729" cy="262073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5"/>
          </p:nvPr>
        </p:nvSpPr>
        <p:spPr>
          <a:xfrm>
            <a:off x="5727007" y="446420"/>
            <a:ext cx="4229829" cy="397399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228" b="1" cap="all" spc="88" baseline="0">
                <a:solidFill>
                  <a:schemeClr val="tx1"/>
                </a:solidFill>
              </a:defRPr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Picture Placeholder 14" descr="dont touch/move" title="Kemira Logo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736564" y="7127331"/>
            <a:ext cx="631500" cy="148411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i-FI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49212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rge Content 2nd 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9"/>
          </p:nvPr>
        </p:nvSpPr>
        <p:spPr>
          <a:xfrm>
            <a:off x="1" y="1"/>
            <a:ext cx="10693400" cy="7562850"/>
          </a:xfrm>
        </p:spPr>
        <p:txBody>
          <a:bodyPr/>
          <a:lstStyle>
            <a:lvl1pPr>
              <a:defRPr sz="1053"/>
            </a:lvl1pPr>
          </a:lstStyle>
          <a:p>
            <a:r>
              <a:rPr lang="en-US"/>
              <a:t>Click icon to add picture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5171" y="1874958"/>
            <a:ext cx="4422424" cy="190646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0439921-5F95-424D-A269-C69F6AB8E60A}" type="datetime1">
              <a:rPr lang="fi-FI" smtClean="0"/>
              <a:t>22.5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CLASSIFICATION  /  PRESENTATION  / 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B8CDF1A-3CDE-4195-AF23-CDCF2878DEB5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36564" y="4098294"/>
            <a:ext cx="4420665" cy="262073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5"/>
          </p:nvPr>
        </p:nvSpPr>
        <p:spPr>
          <a:xfrm>
            <a:off x="736565" y="446420"/>
            <a:ext cx="4421049" cy="397399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228" b="1" cap="all" spc="88" baseline="0">
                <a:solidFill>
                  <a:schemeClr val="tx1"/>
                </a:solidFill>
              </a:defRPr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20"/>
          </p:nvPr>
        </p:nvSpPr>
        <p:spPr>
          <a:xfrm>
            <a:off x="5409357" y="843819"/>
            <a:ext cx="4547480" cy="5875214"/>
          </a:xfrm>
          <a:ln w="6350">
            <a:solidFill>
              <a:schemeClr val="tx1"/>
            </a:solidFill>
          </a:ln>
        </p:spPr>
        <p:txBody>
          <a:bodyPr lIns="360000" tIns="360000" rIns="360000" bIns="360000" anchor="ctr" anchorCtr="0"/>
          <a:lstStyle>
            <a:lvl1pPr marL="0" indent="0" algn="ctr">
              <a:buFontTx/>
              <a:buNone/>
              <a:defRPr sz="1228" b="1" cap="all" spc="88" baseline="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5263" b="1" spc="-263" baseline="0">
                <a:solidFill>
                  <a:schemeClr val="tx1"/>
                </a:solidFill>
              </a:defRPr>
            </a:lvl2pPr>
            <a:lvl3pPr marL="0" indent="0" algn="ctr">
              <a:buFontTx/>
              <a:buNone/>
              <a:defRPr sz="1228">
                <a:solidFill>
                  <a:schemeClr val="tx1"/>
                </a:solidFill>
              </a:defRPr>
            </a:lvl3pPr>
            <a:lvl4pPr marL="0" indent="0" algn="ctr">
              <a:buFontTx/>
              <a:buNone/>
              <a:defRPr sz="1228" b="1">
                <a:solidFill>
                  <a:schemeClr val="tx1"/>
                </a:solidFill>
              </a:defRPr>
            </a:lvl4pPr>
            <a:lvl5pPr marL="0" indent="0" algn="ctr">
              <a:buFontTx/>
              <a:buNone/>
              <a:defRPr/>
            </a:lvl5pPr>
            <a:lvl6pPr marL="0" indent="0" algn="ctr">
              <a:buFontTx/>
              <a:buNone/>
              <a:defRPr/>
            </a:lvl6pPr>
            <a:lvl7pPr marL="0" indent="0" algn="ctr">
              <a:buFontTx/>
              <a:buNone/>
              <a:defRPr/>
            </a:lvl7pPr>
            <a:lvl8pPr marL="0" indent="0" algn="ctr">
              <a:buFontTx/>
              <a:buNone/>
              <a:defRPr/>
            </a:lvl8pPr>
            <a:lvl9pPr marL="0" indent="0" algn="ctr">
              <a:buFontTx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Picture Placeholder 14" descr="dont touch/move" title="Kemira Logo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736564" y="7127331"/>
            <a:ext cx="631500" cy="14841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i-FI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93797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rge Content 2nd nega 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9"/>
          </p:nvPr>
        </p:nvSpPr>
        <p:spPr>
          <a:xfrm>
            <a:off x="1" y="1"/>
            <a:ext cx="10693400" cy="7562850"/>
          </a:xfrm>
        </p:spPr>
        <p:txBody>
          <a:bodyPr/>
          <a:lstStyle>
            <a:lvl1pPr>
              <a:defRPr sz="1053"/>
            </a:lvl1pPr>
          </a:lstStyle>
          <a:p>
            <a:r>
              <a:rPr lang="en-US"/>
              <a:t>Click icon to add picture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5171" y="1874956"/>
            <a:ext cx="4422424" cy="19064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802020">
              <a:defRPr/>
            </a:pPr>
            <a:fld id="{956E49BD-25CD-4698-A588-6562A9D7B164}" type="datetime1">
              <a:rPr lang="fi-FI" smtClean="0">
                <a:solidFill>
                  <a:prstClr val="white"/>
                </a:solidFill>
              </a:rPr>
              <a:pPr defTabSz="802020">
                <a:defRPr/>
              </a:pPr>
              <a:t>22.5.2025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802020">
              <a:defRPr/>
            </a:pPr>
            <a:r>
              <a:rPr lang="en-US">
                <a:solidFill>
                  <a:prstClr val="white"/>
                </a:solidFill>
              </a:rPr>
              <a:t>CLASSIFICATION  /  PRESENTATION  / 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802020">
              <a:defRPr/>
            </a:pPr>
            <a:fld id="{9B8CDF1A-3CDE-4195-AF23-CDCF2878DEB5}" type="slidenum">
              <a:rPr lang="en-US" smtClean="0">
                <a:solidFill>
                  <a:prstClr val="white"/>
                </a:solidFill>
              </a:rPr>
              <a:pPr defTabSz="802020"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36564" y="4098294"/>
            <a:ext cx="4420665" cy="26207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5"/>
          </p:nvPr>
        </p:nvSpPr>
        <p:spPr>
          <a:xfrm>
            <a:off x="736565" y="446420"/>
            <a:ext cx="4421049" cy="397399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228" b="1" cap="all" spc="88" baseline="0">
                <a:solidFill>
                  <a:schemeClr val="bg1"/>
                </a:solidFill>
              </a:defRPr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14" descr="dont touch/move" title="Kemira Logo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736564" y="7127331"/>
            <a:ext cx="631500" cy="148411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i-FI"/>
              <a:t>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20"/>
          </p:nvPr>
        </p:nvSpPr>
        <p:spPr>
          <a:xfrm>
            <a:off x="5409357" y="843819"/>
            <a:ext cx="4547480" cy="5875214"/>
          </a:xfrm>
          <a:ln w="6350">
            <a:solidFill>
              <a:schemeClr val="bg1"/>
            </a:solidFill>
          </a:ln>
        </p:spPr>
        <p:txBody>
          <a:bodyPr lIns="360000" tIns="360000" rIns="360000" bIns="360000" anchor="ctr" anchorCtr="0"/>
          <a:lstStyle>
            <a:lvl1pPr marL="0" indent="0" algn="ctr">
              <a:buFontTx/>
              <a:buNone/>
              <a:defRPr sz="1228" b="1" cap="all" spc="88" baseline="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 sz="5263" b="1" spc="-263" baseline="0">
                <a:solidFill>
                  <a:schemeClr val="bg1"/>
                </a:solidFill>
              </a:defRPr>
            </a:lvl2pPr>
            <a:lvl3pPr marL="0" indent="0" algn="ctr">
              <a:buFontTx/>
              <a:buNone/>
              <a:defRPr sz="1228">
                <a:solidFill>
                  <a:schemeClr val="bg1"/>
                </a:solidFill>
              </a:defRPr>
            </a:lvl3pPr>
            <a:lvl4pPr marL="0" indent="0" algn="ctr">
              <a:buFontTx/>
              <a:buNone/>
              <a:defRPr sz="1228" b="1">
                <a:solidFill>
                  <a:schemeClr val="bg1"/>
                </a:solidFill>
              </a:defRPr>
            </a:lvl4pPr>
            <a:lvl5pPr marL="0" indent="0" algn="ctr">
              <a:buFontTx/>
              <a:buNone/>
              <a:defRPr/>
            </a:lvl5pPr>
            <a:lvl6pPr marL="0" indent="0" algn="ctr">
              <a:buFontTx/>
              <a:buNone/>
              <a:defRPr/>
            </a:lvl6pPr>
            <a:lvl7pPr marL="0" indent="0" algn="ctr">
              <a:buFontTx/>
              <a:buNone/>
              <a:defRPr/>
            </a:lvl7pPr>
            <a:lvl8pPr marL="0" indent="0" algn="ctr">
              <a:buFontTx/>
              <a:buNone/>
              <a:defRPr/>
            </a:lvl8pPr>
            <a:lvl9pPr marL="0" indent="0" algn="ctr">
              <a:buFontTx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200945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rge Content 3rd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9"/>
          </p:nvPr>
        </p:nvSpPr>
        <p:spPr>
          <a:xfrm>
            <a:off x="1" y="1"/>
            <a:ext cx="10693400" cy="7562850"/>
          </a:xfrm>
        </p:spPr>
        <p:txBody>
          <a:bodyPr/>
          <a:lstStyle>
            <a:lvl1pPr>
              <a:defRPr sz="1053"/>
            </a:lvl1pPr>
          </a:lstStyle>
          <a:p>
            <a:r>
              <a:rPr lang="en-US"/>
              <a:t>Click icon to add picture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25425" y="1874957"/>
            <a:ext cx="4231782" cy="190646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6B695D6-98CF-437A-99AA-F51C52E37135}" type="datetime1">
              <a:rPr lang="fi-FI" smtClean="0"/>
              <a:t>22.5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CLASSIFICATION  /  PRESENTATION  / 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B8CDF1A-3CDE-4195-AF23-CDCF2878DEB5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725455" y="4098294"/>
            <a:ext cx="4231382" cy="262073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5"/>
          </p:nvPr>
        </p:nvSpPr>
        <p:spPr>
          <a:xfrm>
            <a:off x="5725456" y="446420"/>
            <a:ext cx="4231382" cy="397399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228" b="1" cap="all" spc="88" baseline="0">
                <a:solidFill>
                  <a:schemeClr val="tx1"/>
                </a:solidFill>
              </a:defRPr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20"/>
          </p:nvPr>
        </p:nvSpPr>
        <p:spPr>
          <a:xfrm>
            <a:off x="736564" y="843819"/>
            <a:ext cx="4547480" cy="5875214"/>
          </a:xfrm>
          <a:ln w="6350">
            <a:solidFill>
              <a:schemeClr val="tx1"/>
            </a:solidFill>
          </a:ln>
        </p:spPr>
        <p:txBody>
          <a:bodyPr lIns="360000" tIns="360000" rIns="360000" bIns="360000" anchor="ctr" anchorCtr="0"/>
          <a:lstStyle>
            <a:lvl1pPr marL="0" indent="0" algn="ctr">
              <a:buFontTx/>
              <a:buNone/>
              <a:defRPr sz="1228" b="1" cap="all" spc="88" baseline="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 sz="5263" b="1" spc="-263" baseline="0">
                <a:solidFill>
                  <a:schemeClr val="tx1"/>
                </a:solidFill>
              </a:defRPr>
            </a:lvl2pPr>
            <a:lvl3pPr marL="0" indent="0" algn="ctr">
              <a:buFontTx/>
              <a:buNone/>
              <a:defRPr sz="1228">
                <a:solidFill>
                  <a:schemeClr val="tx1"/>
                </a:solidFill>
              </a:defRPr>
            </a:lvl3pPr>
            <a:lvl4pPr marL="0" indent="0" algn="ctr">
              <a:buFontTx/>
              <a:buNone/>
              <a:defRPr sz="1228" b="1">
                <a:solidFill>
                  <a:schemeClr val="tx1"/>
                </a:solidFill>
              </a:defRPr>
            </a:lvl4pPr>
            <a:lvl5pPr marL="0" indent="0" algn="ctr">
              <a:buFontTx/>
              <a:buNone/>
              <a:defRPr/>
            </a:lvl5pPr>
            <a:lvl6pPr marL="0" indent="0" algn="ctr">
              <a:buFontTx/>
              <a:buNone/>
              <a:defRPr/>
            </a:lvl6pPr>
            <a:lvl7pPr marL="0" indent="0" algn="ctr">
              <a:buFontTx/>
              <a:buNone/>
              <a:defRPr/>
            </a:lvl7pPr>
            <a:lvl8pPr marL="0" indent="0" algn="ctr">
              <a:buFontTx/>
              <a:buNone/>
              <a:defRPr/>
            </a:lvl8pPr>
            <a:lvl9pPr marL="0" indent="0" algn="ctr">
              <a:buFontTx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Picture Placeholder 14" descr="dont touch/move" title="Kemira Logo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736564" y="7127331"/>
            <a:ext cx="631500" cy="14841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i-FI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58572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rge Content 3rd nega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9"/>
          </p:nvPr>
        </p:nvSpPr>
        <p:spPr>
          <a:xfrm>
            <a:off x="1" y="1"/>
            <a:ext cx="10693400" cy="7562850"/>
          </a:xfrm>
        </p:spPr>
        <p:txBody>
          <a:bodyPr/>
          <a:lstStyle>
            <a:lvl1pPr>
              <a:defRPr sz="1053"/>
            </a:lvl1pPr>
          </a:lstStyle>
          <a:p>
            <a:r>
              <a:rPr lang="en-US"/>
              <a:t>Click icon to add picture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25425" y="1874957"/>
            <a:ext cx="4231412" cy="190646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802020">
              <a:defRPr/>
            </a:pPr>
            <a:fld id="{732A007E-D78A-434E-B68E-4FEB3701ECC9}" type="datetime1">
              <a:rPr lang="fi-FI" smtClean="0">
                <a:solidFill>
                  <a:prstClr val="white"/>
                </a:solidFill>
              </a:rPr>
              <a:pPr defTabSz="802020">
                <a:defRPr/>
              </a:pPr>
              <a:t>22.5.2025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802020">
              <a:defRPr/>
            </a:pPr>
            <a:r>
              <a:rPr lang="en-US">
                <a:solidFill>
                  <a:prstClr val="white"/>
                </a:solidFill>
              </a:rPr>
              <a:t>CLASSIFICATION  /  PRESENTATION  / 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802020">
              <a:defRPr/>
            </a:pPr>
            <a:fld id="{9B8CDF1A-3CDE-4195-AF23-CDCF2878DEB5}" type="slidenum">
              <a:rPr lang="en-US" smtClean="0">
                <a:solidFill>
                  <a:prstClr val="white"/>
                </a:solidFill>
              </a:rPr>
              <a:pPr defTabSz="802020"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726758" y="4098294"/>
            <a:ext cx="4230078" cy="26207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5"/>
          </p:nvPr>
        </p:nvSpPr>
        <p:spPr>
          <a:xfrm>
            <a:off x="5726759" y="446420"/>
            <a:ext cx="4230078" cy="397399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228" b="1" cap="all" spc="88" baseline="0">
                <a:solidFill>
                  <a:schemeClr val="bg1"/>
                </a:solidFill>
              </a:defRPr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14" descr="dont touch/move" title="Kemira Logo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736564" y="7127331"/>
            <a:ext cx="631500" cy="148411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i-FI"/>
              <a:t> 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20"/>
          </p:nvPr>
        </p:nvSpPr>
        <p:spPr>
          <a:xfrm>
            <a:off x="736565" y="843819"/>
            <a:ext cx="4546978" cy="5875214"/>
          </a:xfrm>
          <a:ln w="6350">
            <a:solidFill>
              <a:schemeClr val="bg1"/>
            </a:solidFill>
          </a:ln>
        </p:spPr>
        <p:txBody>
          <a:bodyPr lIns="360000" tIns="360000" rIns="360000" bIns="360000" anchor="ctr" anchorCtr="0"/>
          <a:lstStyle>
            <a:lvl1pPr marL="0" indent="0" algn="ctr">
              <a:buFontTx/>
              <a:buNone/>
              <a:defRPr sz="1228" b="1" cap="all" spc="88" baseline="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 sz="5263" b="1" spc="-263" baseline="0">
                <a:solidFill>
                  <a:schemeClr val="bg1"/>
                </a:solidFill>
              </a:defRPr>
            </a:lvl2pPr>
            <a:lvl3pPr marL="0" indent="0" algn="ctr">
              <a:buFontTx/>
              <a:buNone/>
              <a:defRPr sz="1228">
                <a:solidFill>
                  <a:schemeClr val="bg1"/>
                </a:solidFill>
              </a:defRPr>
            </a:lvl3pPr>
            <a:lvl4pPr marL="0" indent="0" algn="ctr">
              <a:buFontTx/>
              <a:buNone/>
              <a:defRPr sz="1228" b="1">
                <a:solidFill>
                  <a:schemeClr val="bg1"/>
                </a:solidFill>
              </a:defRPr>
            </a:lvl4pPr>
            <a:lvl5pPr marL="0" indent="0" algn="ctr">
              <a:buFontTx/>
              <a:buNone/>
              <a:defRPr/>
            </a:lvl5pPr>
            <a:lvl6pPr marL="0" indent="0" algn="ctr">
              <a:buFontTx/>
              <a:buNone/>
              <a:defRPr/>
            </a:lvl6pPr>
            <a:lvl7pPr marL="0" indent="0" algn="ctr">
              <a:buFontTx/>
              <a:buNone/>
              <a:defRPr/>
            </a:lvl7pPr>
            <a:lvl8pPr marL="0" indent="0" algn="ctr">
              <a:buFontTx/>
              <a:buNone/>
              <a:defRPr/>
            </a:lvl8pPr>
            <a:lvl9pPr marL="0" indent="0" algn="ctr">
              <a:buFontTx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95811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/>
          <p:cNvSpPr>
            <a:spLocks noGrp="1"/>
          </p:cNvSpPr>
          <p:nvPr>
            <p:ph type="pic" sz="quarter" idx="19"/>
          </p:nvPr>
        </p:nvSpPr>
        <p:spPr>
          <a:xfrm>
            <a:off x="1" y="1"/>
            <a:ext cx="10693399" cy="7562849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6564" y="1874957"/>
            <a:ext cx="9220273" cy="4844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A8495D-B333-43FD-A78E-59583BECC4A9}" type="datetime1">
              <a:rPr lang="fi-FI" smtClean="0"/>
              <a:t>22.5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LASSIFICATION  /  PRESENTATION  / 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8CDF1A-3CDE-4195-AF23-CDCF2878DEB5}" type="slidenum">
              <a:rPr lang="en-US" smtClean="0"/>
              <a:t>‹#›</a:t>
            </a:fld>
            <a:endParaRPr lang="en-US"/>
          </a:p>
        </p:txBody>
      </p:sp>
      <p:sp>
        <p:nvSpPr>
          <p:cNvPr id="9" name="Picture Placeholder 14" descr="dont touch/move" title="Kemira Logo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736564" y="7127331"/>
            <a:ext cx="631500" cy="14841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i-FI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99165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 ne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/>
          <p:cNvSpPr>
            <a:spLocks noGrp="1"/>
          </p:cNvSpPr>
          <p:nvPr>
            <p:ph type="pic" sz="quarter" idx="19"/>
          </p:nvPr>
        </p:nvSpPr>
        <p:spPr>
          <a:xfrm>
            <a:off x="1" y="1"/>
            <a:ext cx="10693399" cy="7562849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6564" y="1874957"/>
            <a:ext cx="9220273" cy="48440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0112970-A552-4D4D-B877-BDC16537158B}" type="datetime1">
              <a:rPr lang="fi-FI" smtClean="0"/>
              <a:t>22.5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ASSIFICATION  /  PRESENTATION  / 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B8CDF1A-3CDE-4195-AF23-CDCF2878DEB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icture Placeholder 14" descr="dont touch/move" title="Kemira Logo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736564" y="7127331"/>
            <a:ext cx="631500" cy="148411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i-FI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2599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6564" y="446419"/>
            <a:ext cx="9216095" cy="714515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228" b="1" cap="all" spc="88" baseline="0">
                <a:solidFill>
                  <a:schemeClr val="tx1"/>
                </a:solidFill>
              </a:defRPr>
            </a:lvl1pPr>
            <a:lvl2pPr marL="401010" indent="0">
              <a:buNone/>
              <a:defRPr sz="1754">
                <a:solidFill>
                  <a:schemeClr val="tx1">
                    <a:tint val="75000"/>
                  </a:schemeClr>
                </a:solidFill>
              </a:defRPr>
            </a:lvl2pPr>
            <a:lvl3pPr marL="802020" indent="0">
              <a:buNone/>
              <a:defRPr sz="1579">
                <a:solidFill>
                  <a:schemeClr val="tx1">
                    <a:tint val="75000"/>
                  </a:schemeClr>
                </a:solidFill>
              </a:defRPr>
            </a:lvl3pPr>
            <a:lvl4pPr marL="1203030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4pPr>
            <a:lvl5pPr marL="1604040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5pPr>
            <a:lvl6pPr marL="200505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6pPr>
            <a:lvl7pPr marL="240606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7pPr>
            <a:lvl8pPr marL="280707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8pPr>
            <a:lvl9pPr marL="320808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DD994-4F72-4ACC-B3A4-D7B41672E6B1}" type="datetime1">
              <a:rPr lang="fi-FI" smtClean="0"/>
              <a:t>22.5.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LASSIFICATION  /  PRESENTATION  / 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8CDF1A-3CDE-4195-AF23-CDCF2878DEB5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736564" y="1160934"/>
            <a:ext cx="9220273" cy="5082165"/>
          </a:xfrm>
        </p:spPr>
        <p:txBody>
          <a:bodyPr anchor="ctr" anchorCtr="0"/>
          <a:lstStyle>
            <a:lvl1pPr algn="l">
              <a:lnSpc>
                <a:spcPct val="80000"/>
              </a:lnSpc>
              <a:defRPr sz="7017" spc="-263" baseline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6005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750" y="1875826"/>
            <a:ext cx="4483650" cy="48433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73014" y="1874957"/>
            <a:ext cx="4485215" cy="4844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CFA2DC-E786-43F2-AFA7-51175B77A8A8}" type="datetime1">
              <a:rPr lang="fi-FI" smtClean="0"/>
              <a:t>22.5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EMIRA PURPOS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8CDF1A-3CDE-4195-AF23-CDCF2878DEB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77528B55-856E-4629-A232-C8322F6A31F7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736565" y="446419"/>
            <a:ext cx="9220085" cy="397400"/>
          </a:xfrm>
        </p:spPr>
        <p:txBody>
          <a:bodyPr anchor="t" anchorCtr="0"/>
          <a:lstStyle>
            <a:lvl1pPr marL="0" indent="0" algn="ctr">
              <a:spcBef>
                <a:spcPts val="0"/>
              </a:spcBef>
              <a:buNone/>
              <a:defRPr sz="1228" b="1" cap="all" spc="88" baseline="0">
                <a:solidFill>
                  <a:schemeClr val="tx1"/>
                </a:solidFill>
              </a:defRPr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9164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F6AFE689-A20B-42B9-A30D-0A20DFD9BF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894250" y="1081825"/>
            <a:ext cx="3536400" cy="56374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750" y="1875826"/>
            <a:ext cx="4546597" cy="2223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83400" y="3066826"/>
            <a:ext cx="3474829" cy="3652206"/>
          </a:xfrm>
        </p:spPr>
        <p:txBody>
          <a:bodyPr/>
          <a:lstStyle>
            <a:lvl1pPr>
              <a:defRPr sz="1579"/>
            </a:lvl1pPr>
            <a:lvl2pPr>
              <a:defRPr sz="1579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CFA2DC-E786-43F2-AFA7-51175B77A8A8}" type="datetime1">
              <a:rPr lang="fi-FI" smtClean="0"/>
              <a:t>22.5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EMIRA PURPOS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8CDF1A-3CDE-4195-AF23-CDCF2878DEB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77528B55-856E-4629-A232-C8322F6A31F7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736565" y="446419"/>
            <a:ext cx="9220085" cy="3974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1228" b="1" cap="all" spc="88" baseline="0">
                <a:solidFill>
                  <a:schemeClr val="tx1"/>
                </a:solidFill>
              </a:defRPr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E0767047-9CAF-4F01-B602-D55A6019ABB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36564" y="4337224"/>
            <a:ext cx="4546986" cy="2381807"/>
          </a:xfrm>
        </p:spPr>
        <p:txBody>
          <a:bodyPr/>
          <a:lstStyle>
            <a:lvl1pPr>
              <a:defRPr sz="1754">
                <a:solidFill>
                  <a:schemeClr val="tx1"/>
                </a:solidFill>
              </a:defRPr>
            </a:lvl1pPr>
            <a:lvl2pPr>
              <a:defRPr sz="1754"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1223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F6AFE689-A20B-42B9-A30D-0A20DFD9BF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62750" y="1081825"/>
            <a:ext cx="3536400" cy="56374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750" y="1875826"/>
            <a:ext cx="4231050" cy="2223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051750" y="1081826"/>
            <a:ext cx="2906479" cy="5637206"/>
          </a:xfrm>
        </p:spPr>
        <p:txBody>
          <a:bodyPr/>
          <a:lstStyle>
            <a:lvl1pPr>
              <a:defRPr sz="1053"/>
            </a:lvl1pPr>
            <a:lvl2pPr>
              <a:defRPr sz="1053"/>
            </a:lvl2pPr>
            <a:lvl3pPr>
              <a:defRPr sz="1053"/>
            </a:lvl3pPr>
            <a:lvl4pPr>
              <a:defRPr sz="1053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CFA2DC-E786-43F2-AFA7-51175B77A8A8}" type="datetime1">
              <a:rPr lang="fi-FI" smtClean="0"/>
              <a:t>22.5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EMIRA PURPOS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8CDF1A-3CDE-4195-AF23-CDCF2878DEB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77528B55-856E-4629-A232-C8322F6A31F7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736565" y="446419"/>
            <a:ext cx="9220085" cy="3974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None/>
              <a:defRPr sz="1228" b="1" cap="all" spc="88" baseline="0">
                <a:solidFill>
                  <a:schemeClr val="tx1"/>
                </a:solidFill>
              </a:defRPr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D9EC19D4-E085-456C-8B04-34425365D55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36564" y="4337224"/>
            <a:ext cx="4231411" cy="2381807"/>
          </a:xfrm>
        </p:spPr>
        <p:txBody>
          <a:bodyPr/>
          <a:lstStyle>
            <a:lvl1pPr>
              <a:defRPr sz="1754">
                <a:solidFill>
                  <a:schemeClr val="tx1"/>
                </a:solidFill>
              </a:defRPr>
            </a:lvl1pPr>
            <a:lvl2pPr>
              <a:defRPr sz="1754"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5684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F6AFE689-A20B-42B9-A30D-0A20DFD9BF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6750" y="1081825"/>
            <a:ext cx="9219900" cy="25408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051750" y="3066826"/>
            <a:ext cx="2652300" cy="3652206"/>
          </a:xfrm>
        </p:spPr>
        <p:txBody>
          <a:bodyPr/>
          <a:lstStyle>
            <a:lvl1pPr>
              <a:defRPr sz="1579"/>
            </a:lvl1pPr>
            <a:lvl2pPr>
              <a:defRPr sz="1579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CFA2DC-E786-43F2-AFA7-51175B77A8A8}" type="datetime1">
              <a:rPr lang="fi-FI" smtClean="0"/>
              <a:t>22.5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EMIRA PURPOS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8CDF1A-3CDE-4195-AF23-CDCF2878DEB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77528B55-856E-4629-A232-C8322F6A31F7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736565" y="446419"/>
            <a:ext cx="9220085" cy="397400"/>
          </a:xfrm>
        </p:spPr>
        <p:txBody>
          <a:bodyPr anchor="t" anchorCtr="0"/>
          <a:lstStyle>
            <a:lvl1pPr marL="0" indent="0" algn="ctr">
              <a:spcBef>
                <a:spcPts val="0"/>
              </a:spcBef>
              <a:buNone/>
              <a:defRPr sz="1228" b="1" cap="all" spc="88" baseline="0">
                <a:solidFill>
                  <a:schemeClr val="tx1"/>
                </a:solidFill>
              </a:defRPr>
            </a:lvl1pPr>
            <a:lvl2pPr marL="401010" indent="0">
              <a:buNone/>
              <a:defRPr sz="1754" b="1"/>
            </a:lvl2pPr>
            <a:lvl3pPr marL="802020" indent="0">
              <a:buNone/>
              <a:defRPr sz="1579" b="1"/>
            </a:lvl3pPr>
            <a:lvl4pPr marL="1203030" indent="0">
              <a:buNone/>
              <a:defRPr sz="1403" b="1"/>
            </a:lvl4pPr>
            <a:lvl5pPr marL="1604040" indent="0">
              <a:buNone/>
              <a:defRPr sz="1403" b="1"/>
            </a:lvl5pPr>
            <a:lvl6pPr marL="2005051" indent="0">
              <a:buNone/>
              <a:defRPr sz="1403" b="1"/>
            </a:lvl6pPr>
            <a:lvl7pPr marL="2406061" indent="0">
              <a:buNone/>
              <a:defRPr sz="1403" b="1"/>
            </a:lvl7pPr>
            <a:lvl8pPr marL="2807071" indent="0">
              <a:buNone/>
              <a:defRPr sz="1403" b="1"/>
            </a:lvl8pPr>
            <a:lvl9pPr marL="3208081" indent="0">
              <a:buNone/>
              <a:defRPr sz="140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2FEC57C-B56B-47F4-9599-835C0B1985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9350" y="3066825"/>
            <a:ext cx="5809800" cy="3652400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263" spc="-263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0437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5171" y="1874958"/>
            <a:ext cx="9221666" cy="1747650"/>
          </a:xfrm>
        </p:spPr>
        <p:txBody>
          <a:bodyPr anchor="b" anchorCtr="0"/>
          <a:lstStyle>
            <a:lvl1pPr algn="ctr">
              <a:defRPr sz="5263" spc="-263" baseline="0"/>
            </a:lvl1pPr>
          </a:lstStyle>
          <a:p>
            <a:r>
              <a:rPr lang="en-US" dirty="0"/>
              <a:t>Click to add Thank you Text.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FF403C2-AFBF-421F-BA0B-42FEAFFA32B9}" type="datetime1">
              <a:rPr lang="fi-FI" smtClean="0"/>
              <a:t>22.5.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LASSIFICATION  /  PRESENTATION  /  AUTHO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9B8CDF1A-3CDE-4195-AF23-CDCF2878DEB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reeform 6"/>
          <p:cNvSpPr>
            <a:spLocks noChangeAspect="1" noEditPoints="1"/>
          </p:cNvSpPr>
          <p:nvPr/>
        </p:nvSpPr>
        <p:spPr bwMode="auto">
          <a:xfrm>
            <a:off x="4715200" y="4733785"/>
            <a:ext cx="1263000" cy="296853"/>
          </a:xfrm>
          <a:custGeom>
            <a:avLst/>
            <a:gdLst>
              <a:gd name="T0" fmla="*/ 1828 w 5971"/>
              <a:gd name="T1" fmla="*/ 967 h 1115"/>
              <a:gd name="T2" fmla="*/ 1577 w 5971"/>
              <a:gd name="T3" fmla="*/ 1104 h 1115"/>
              <a:gd name="T4" fmla="*/ 1259 w 5971"/>
              <a:gd name="T5" fmla="*/ 1080 h 1115"/>
              <a:gd name="T6" fmla="*/ 1071 w 5971"/>
              <a:gd name="T7" fmla="*/ 932 h 1115"/>
              <a:gd name="T8" fmla="*/ 982 w 5971"/>
              <a:gd name="T9" fmla="*/ 665 h 1115"/>
              <a:gd name="T10" fmla="*/ 1023 w 5971"/>
              <a:gd name="T11" fmla="*/ 275 h 1115"/>
              <a:gd name="T12" fmla="*/ 1229 w 5971"/>
              <a:gd name="T13" fmla="*/ 49 h 1115"/>
              <a:gd name="T14" fmla="*/ 1509 w 5971"/>
              <a:gd name="T15" fmla="*/ 2 h 1115"/>
              <a:gd name="T16" fmla="*/ 1768 w 5971"/>
              <a:gd name="T17" fmla="*/ 97 h 1115"/>
              <a:gd name="T18" fmla="*/ 1906 w 5971"/>
              <a:gd name="T19" fmla="*/ 301 h 1115"/>
              <a:gd name="T20" fmla="*/ 1244 w 5971"/>
              <a:gd name="T21" fmla="*/ 631 h 1115"/>
              <a:gd name="T22" fmla="*/ 1303 w 5971"/>
              <a:gd name="T23" fmla="*/ 811 h 1115"/>
              <a:gd name="T24" fmla="*/ 1447 w 5971"/>
              <a:gd name="T25" fmla="*/ 878 h 1115"/>
              <a:gd name="T26" fmla="*/ 1604 w 5971"/>
              <a:gd name="T27" fmla="*/ 831 h 1115"/>
              <a:gd name="T28" fmla="*/ 1414 w 5971"/>
              <a:gd name="T29" fmla="*/ 221 h 1115"/>
              <a:gd name="T30" fmla="*/ 1286 w 5971"/>
              <a:gd name="T31" fmla="*/ 320 h 1115"/>
              <a:gd name="T32" fmla="*/ 1617 w 5971"/>
              <a:gd name="T33" fmla="*/ 291 h 1115"/>
              <a:gd name="T34" fmla="*/ 1485 w 5971"/>
              <a:gd name="T35" fmla="*/ 218 h 1115"/>
              <a:gd name="T36" fmla="*/ 5660 w 5971"/>
              <a:gd name="T37" fmla="*/ 267 h 1115"/>
              <a:gd name="T38" fmla="*/ 5465 w 5971"/>
              <a:gd name="T39" fmla="*/ 238 h 1115"/>
              <a:gd name="T40" fmla="*/ 5360 w 5971"/>
              <a:gd name="T41" fmla="*/ 336 h 1115"/>
              <a:gd name="T42" fmla="*/ 5199 w 5971"/>
              <a:gd name="T43" fmla="*/ 121 h 1115"/>
              <a:gd name="T44" fmla="*/ 5408 w 5971"/>
              <a:gd name="T45" fmla="*/ 12 h 1115"/>
              <a:gd name="T46" fmla="*/ 5710 w 5971"/>
              <a:gd name="T47" fmla="*/ 28 h 1115"/>
              <a:gd name="T48" fmla="*/ 5929 w 5971"/>
              <a:gd name="T49" fmla="*/ 203 h 1115"/>
              <a:gd name="T50" fmla="*/ 5970 w 5971"/>
              <a:gd name="T51" fmla="*/ 1093 h 1115"/>
              <a:gd name="T52" fmla="*/ 5218 w 5971"/>
              <a:gd name="T53" fmla="*/ 1049 h 1115"/>
              <a:gd name="T54" fmla="*/ 5061 w 5971"/>
              <a:gd name="T55" fmla="*/ 867 h 1115"/>
              <a:gd name="T56" fmla="*/ 5080 w 5971"/>
              <a:gd name="T57" fmla="*/ 611 h 1115"/>
              <a:gd name="T58" fmla="*/ 5265 w 5971"/>
              <a:gd name="T59" fmla="*/ 438 h 1115"/>
              <a:gd name="T60" fmla="*/ 5400 w 5971"/>
              <a:gd name="T61" fmla="*/ 636 h 1115"/>
              <a:gd name="T62" fmla="*/ 5304 w 5971"/>
              <a:gd name="T63" fmla="*/ 739 h 1115"/>
              <a:gd name="T64" fmla="*/ 5388 w 5971"/>
              <a:gd name="T65" fmla="*/ 861 h 1115"/>
              <a:gd name="T66" fmla="*/ 383 w 5971"/>
              <a:gd name="T67" fmla="*/ 349 h 1115"/>
              <a:gd name="T68" fmla="*/ 580 w 5971"/>
              <a:gd name="T69" fmla="*/ 87 h 1115"/>
              <a:gd name="T70" fmla="*/ 777 w 5971"/>
              <a:gd name="T71" fmla="*/ 235 h 1115"/>
              <a:gd name="T72" fmla="*/ 568 w 5971"/>
              <a:gd name="T73" fmla="*/ 507 h 1115"/>
              <a:gd name="T74" fmla="*/ 701 w 5971"/>
              <a:gd name="T75" fmla="*/ 724 h 1115"/>
              <a:gd name="T76" fmla="*/ 839 w 5971"/>
              <a:gd name="T77" fmla="*/ 1038 h 1115"/>
              <a:gd name="T78" fmla="*/ 504 w 5971"/>
              <a:gd name="T79" fmla="*/ 869 h 1115"/>
              <a:gd name="T80" fmla="*/ 305 w 5971"/>
              <a:gd name="T81" fmla="*/ 699 h 1115"/>
              <a:gd name="T82" fmla="*/ 3168 w 5971"/>
              <a:gd name="T83" fmla="*/ 349 h 1115"/>
              <a:gd name="T84" fmla="*/ 3082 w 5971"/>
              <a:gd name="T85" fmla="*/ 241 h 1115"/>
              <a:gd name="T86" fmla="*/ 2946 w 5971"/>
              <a:gd name="T87" fmla="*/ 287 h 1115"/>
              <a:gd name="T88" fmla="*/ 2664 w 5971"/>
              <a:gd name="T89" fmla="*/ 326 h 1115"/>
              <a:gd name="T90" fmla="*/ 2571 w 5971"/>
              <a:gd name="T91" fmla="*/ 238 h 1115"/>
              <a:gd name="T92" fmla="*/ 2438 w 5971"/>
              <a:gd name="T93" fmla="*/ 301 h 1115"/>
              <a:gd name="T94" fmla="*/ 2179 w 5971"/>
              <a:gd name="T95" fmla="*/ 275 h 1115"/>
              <a:gd name="T96" fmla="*/ 2295 w 5971"/>
              <a:gd name="T97" fmla="*/ 83 h 1115"/>
              <a:gd name="T98" fmla="*/ 2569 w 5971"/>
              <a:gd name="T99" fmla="*/ 1 h 1115"/>
              <a:gd name="T100" fmla="*/ 2793 w 5971"/>
              <a:gd name="T101" fmla="*/ 82 h 1115"/>
              <a:gd name="T102" fmla="*/ 3004 w 5971"/>
              <a:gd name="T103" fmla="*/ 2 h 1115"/>
              <a:gd name="T104" fmla="*/ 3267 w 5971"/>
              <a:gd name="T105" fmla="*/ 63 h 1115"/>
              <a:gd name="T106" fmla="*/ 3412 w 5971"/>
              <a:gd name="T107" fmla="*/ 275 h 1115"/>
              <a:gd name="T108" fmla="*/ 4279 w 5971"/>
              <a:gd name="T109" fmla="*/ 253 h 1115"/>
              <a:gd name="T110" fmla="*/ 4418 w 5971"/>
              <a:gd name="T111" fmla="*/ 61 h 1115"/>
              <a:gd name="T112" fmla="*/ 4711 w 5971"/>
              <a:gd name="T113" fmla="*/ 5 h 1115"/>
              <a:gd name="T114" fmla="*/ 4940 w 5971"/>
              <a:gd name="T115" fmla="*/ 120 h 1115"/>
              <a:gd name="T116" fmla="*/ 5020 w 5971"/>
              <a:gd name="T117" fmla="*/ 336 h 1115"/>
              <a:gd name="T118" fmla="*/ 4688 w 5971"/>
              <a:gd name="T119" fmla="*/ 242 h 1115"/>
              <a:gd name="T120" fmla="*/ 4552 w 5971"/>
              <a:gd name="T121" fmla="*/ 272 h 1115"/>
              <a:gd name="T122" fmla="*/ 3716 w 5971"/>
              <a:gd name="T123" fmla="*/ 556 h 11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971" h="1115">
                <a:moveTo>
                  <a:pt x="1929" y="765"/>
                </a:moveTo>
                <a:lnTo>
                  <a:pt x="1926" y="777"/>
                </a:lnTo>
                <a:lnTo>
                  <a:pt x="1923" y="788"/>
                </a:lnTo>
                <a:lnTo>
                  <a:pt x="1921" y="798"/>
                </a:lnTo>
                <a:lnTo>
                  <a:pt x="1917" y="809"/>
                </a:lnTo>
                <a:lnTo>
                  <a:pt x="1911" y="829"/>
                </a:lnTo>
                <a:lnTo>
                  <a:pt x="1903" y="849"/>
                </a:lnTo>
                <a:lnTo>
                  <a:pt x="1895" y="868"/>
                </a:lnTo>
                <a:lnTo>
                  <a:pt x="1886" y="887"/>
                </a:lnTo>
                <a:lnTo>
                  <a:pt x="1881" y="896"/>
                </a:lnTo>
                <a:lnTo>
                  <a:pt x="1876" y="905"/>
                </a:lnTo>
                <a:lnTo>
                  <a:pt x="1865" y="921"/>
                </a:lnTo>
                <a:lnTo>
                  <a:pt x="1854" y="937"/>
                </a:lnTo>
                <a:lnTo>
                  <a:pt x="1842" y="952"/>
                </a:lnTo>
                <a:lnTo>
                  <a:pt x="1828" y="967"/>
                </a:lnTo>
                <a:lnTo>
                  <a:pt x="1815" y="981"/>
                </a:lnTo>
                <a:lnTo>
                  <a:pt x="1801" y="995"/>
                </a:lnTo>
                <a:lnTo>
                  <a:pt x="1787" y="1007"/>
                </a:lnTo>
                <a:lnTo>
                  <a:pt x="1771" y="1019"/>
                </a:lnTo>
                <a:lnTo>
                  <a:pt x="1756" y="1030"/>
                </a:lnTo>
                <a:lnTo>
                  <a:pt x="1740" y="1040"/>
                </a:lnTo>
                <a:lnTo>
                  <a:pt x="1723" y="1050"/>
                </a:lnTo>
                <a:lnTo>
                  <a:pt x="1707" y="1059"/>
                </a:lnTo>
                <a:lnTo>
                  <a:pt x="1689" y="1067"/>
                </a:lnTo>
                <a:lnTo>
                  <a:pt x="1671" y="1075"/>
                </a:lnTo>
                <a:lnTo>
                  <a:pt x="1653" y="1083"/>
                </a:lnTo>
                <a:lnTo>
                  <a:pt x="1634" y="1088"/>
                </a:lnTo>
                <a:lnTo>
                  <a:pt x="1616" y="1094"/>
                </a:lnTo>
                <a:lnTo>
                  <a:pt x="1597" y="1099"/>
                </a:lnTo>
                <a:lnTo>
                  <a:pt x="1577" y="1104"/>
                </a:lnTo>
                <a:lnTo>
                  <a:pt x="1558" y="1107"/>
                </a:lnTo>
                <a:lnTo>
                  <a:pt x="1538" y="1109"/>
                </a:lnTo>
                <a:lnTo>
                  <a:pt x="1519" y="1112"/>
                </a:lnTo>
                <a:lnTo>
                  <a:pt x="1499" y="1114"/>
                </a:lnTo>
                <a:lnTo>
                  <a:pt x="1479" y="1115"/>
                </a:lnTo>
                <a:lnTo>
                  <a:pt x="1459" y="1115"/>
                </a:lnTo>
                <a:lnTo>
                  <a:pt x="1434" y="1115"/>
                </a:lnTo>
                <a:lnTo>
                  <a:pt x="1409" y="1113"/>
                </a:lnTo>
                <a:lnTo>
                  <a:pt x="1385" y="1111"/>
                </a:lnTo>
                <a:lnTo>
                  <a:pt x="1361" y="1107"/>
                </a:lnTo>
                <a:lnTo>
                  <a:pt x="1337" y="1104"/>
                </a:lnTo>
                <a:lnTo>
                  <a:pt x="1315" y="1098"/>
                </a:lnTo>
                <a:lnTo>
                  <a:pt x="1292" y="1092"/>
                </a:lnTo>
                <a:lnTo>
                  <a:pt x="1271" y="1085"/>
                </a:lnTo>
                <a:lnTo>
                  <a:pt x="1259" y="1080"/>
                </a:lnTo>
                <a:lnTo>
                  <a:pt x="1249" y="1076"/>
                </a:lnTo>
                <a:lnTo>
                  <a:pt x="1228" y="1067"/>
                </a:lnTo>
                <a:lnTo>
                  <a:pt x="1208" y="1057"/>
                </a:lnTo>
                <a:lnTo>
                  <a:pt x="1188" y="1045"/>
                </a:lnTo>
                <a:lnTo>
                  <a:pt x="1169" y="1033"/>
                </a:lnTo>
                <a:lnTo>
                  <a:pt x="1151" y="1019"/>
                </a:lnTo>
                <a:lnTo>
                  <a:pt x="1133" y="1004"/>
                </a:lnTo>
                <a:lnTo>
                  <a:pt x="1124" y="996"/>
                </a:lnTo>
                <a:lnTo>
                  <a:pt x="1117" y="988"/>
                </a:lnTo>
                <a:lnTo>
                  <a:pt x="1109" y="979"/>
                </a:lnTo>
                <a:lnTo>
                  <a:pt x="1101" y="970"/>
                </a:lnTo>
                <a:lnTo>
                  <a:pt x="1093" y="961"/>
                </a:lnTo>
                <a:lnTo>
                  <a:pt x="1085" y="952"/>
                </a:lnTo>
                <a:lnTo>
                  <a:pt x="1079" y="942"/>
                </a:lnTo>
                <a:lnTo>
                  <a:pt x="1071" y="932"/>
                </a:lnTo>
                <a:lnTo>
                  <a:pt x="1064" y="922"/>
                </a:lnTo>
                <a:lnTo>
                  <a:pt x="1057" y="911"/>
                </a:lnTo>
                <a:lnTo>
                  <a:pt x="1045" y="889"/>
                </a:lnTo>
                <a:lnTo>
                  <a:pt x="1034" y="866"/>
                </a:lnTo>
                <a:lnTo>
                  <a:pt x="1028" y="853"/>
                </a:lnTo>
                <a:lnTo>
                  <a:pt x="1023" y="841"/>
                </a:lnTo>
                <a:lnTo>
                  <a:pt x="1013" y="816"/>
                </a:lnTo>
                <a:lnTo>
                  <a:pt x="1005" y="788"/>
                </a:lnTo>
                <a:lnTo>
                  <a:pt x="1001" y="774"/>
                </a:lnTo>
                <a:lnTo>
                  <a:pt x="997" y="760"/>
                </a:lnTo>
                <a:lnTo>
                  <a:pt x="991" y="730"/>
                </a:lnTo>
                <a:lnTo>
                  <a:pt x="988" y="714"/>
                </a:lnTo>
                <a:lnTo>
                  <a:pt x="985" y="699"/>
                </a:lnTo>
                <a:lnTo>
                  <a:pt x="983" y="682"/>
                </a:lnTo>
                <a:lnTo>
                  <a:pt x="982" y="665"/>
                </a:lnTo>
                <a:lnTo>
                  <a:pt x="978" y="632"/>
                </a:lnTo>
                <a:lnTo>
                  <a:pt x="976" y="596"/>
                </a:lnTo>
                <a:lnTo>
                  <a:pt x="976" y="560"/>
                </a:lnTo>
                <a:lnTo>
                  <a:pt x="976" y="522"/>
                </a:lnTo>
                <a:lnTo>
                  <a:pt x="977" y="504"/>
                </a:lnTo>
                <a:lnTo>
                  <a:pt x="978" y="486"/>
                </a:lnTo>
                <a:lnTo>
                  <a:pt x="982" y="452"/>
                </a:lnTo>
                <a:lnTo>
                  <a:pt x="983" y="435"/>
                </a:lnTo>
                <a:lnTo>
                  <a:pt x="985" y="419"/>
                </a:lnTo>
                <a:lnTo>
                  <a:pt x="991" y="387"/>
                </a:lnTo>
                <a:lnTo>
                  <a:pt x="997" y="357"/>
                </a:lnTo>
                <a:lnTo>
                  <a:pt x="1001" y="343"/>
                </a:lnTo>
                <a:lnTo>
                  <a:pt x="1005" y="328"/>
                </a:lnTo>
                <a:lnTo>
                  <a:pt x="1014" y="301"/>
                </a:lnTo>
                <a:lnTo>
                  <a:pt x="1023" y="275"/>
                </a:lnTo>
                <a:lnTo>
                  <a:pt x="1034" y="250"/>
                </a:lnTo>
                <a:lnTo>
                  <a:pt x="1040" y="238"/>
                </a:lnTo>
                <a:lnTo>
                  <a:pt x="1045" y="227"/>
                </a:lnTo>
                <a:lnTo>
                  <a:pt x="1059" y="204"/>
                </a:lnTo>
                <a:lnTo>
                  <a:pt x="1072" y="183"/>
                </a:lnTo>
                <a:lnTo>
                  <a:pt x="1086" y="163"/>
                </a:lnTo>
                <a:lnTo>
                  <a:pt x="1101" y="145"/>
                </a:lnTo>
                <a:lnTo>
                  <a:pt x="1118" y="128"/>
                </a:lnTo>
                <a:lnTo>
                  <a:pt x="1134" y="112"/>
                </a:lnTo>
                <a:lnTo>
                  <a:pt x="1151" y="97"/>
                </a:lnTo>
                <a:lnTo>
                  <a:pt x="1161" y="90"/>
                </a:lnTo>
                <a:lnTo>
                  <a:pt x="1170" y="83"/>
                </a:lnTo>
                <a:lnTo>
                  <a:pt x="1189" y="70"/>
                </a:lnTo>
                <a:lnTo>
                  <a:pt x="1208" y="59"/>
                </a:lnTo>
                <a:lnTo>
                  <a:pt x="1229" y="49"/>
                </a:lnTo>
                <a:lnTo>
                  <a:pt x="1249" y="39"/>
                </a:lnTo>
                <a:lnTo>
                  <a:pt x="1260" y="34"/>
                </a:lnTo>
                <a:lnTo>
                  <a:pt x="1272" y="31"/>
                </a:lnTo>
                <a:lnTo>
                  <a:pt x="1293" y="23"/>
                </a:lnTo>
                <a:lnTo>
                  <a:pt x="1304" y="20"/>
                </a:lnTo>
                <a:lnTo>
                  <a:pt x="1315" y="17"/>
                </a:lnTo>
                <a:lnTo>
                  <a:pt x="1339" y="12"/>
                </a:lnTo>
                <a:lnTo>
                  <a:pt x="1362" y="7"/>
                </a:lnTo>
                <a:lnTo>
                  <a:pt x="1374" y="5"/>
                </a:lnTo>
                <a:lnTo>
                  <a:pt x="1385" y="4"/>
                </a:lnTo>
                <a:lnTo>
                  <a:pt x="1410" y="2"/>
                </a:lnTo>
                <a:lnTo>
                  <a:pt x="1434" y="1"/>
                </a:lnTo>
                <a:lnTo>
                  <a:pt x="1460" y="0"/>
                </a:lnTo>
                <a:lnTo>
                  <a:pt x="1485" y="1"/>
                </a:lnTo>
                <a:lnTo>
                  <a:pt x="1509" y="2"/>
                </a:lnTo>
                <a:lnTo>
                  <a:pt x="1534" y="4"/>
                </a:lnTo>
                <a:lnTo>
                  <a:pt x="1557" y="7"/>
                </a:lnTo>
                <a:lnTo>
                  <a:pt x="1581" y="12"/>
                </a:lnTo>
                <a:lnTo>
                  <a:pt x="1604" y="17"/>
                </a:lnTo>
                <a:lnTo>
                  <a:pt x="1626" y="23"/>
                </a:lnTo>
                <a:lnTo>
                  <a:pt x="1649" y="31"/>
                </a:lnTo>
                <a:lnTo>
                  <a:pt x="1659" y="34"/>
                </a:lnTo>
                <a:lnTo>
                  <a:pt x="1670" y="39"/>
                </a:lnTo>
                <a:lnTo>
                  <a:pt x="1691" y="49"/>
                </a:lnTo>
                <a:lnTo>
                  <a:pt x="1701" y="53"/>
                </a:lnTo>
                <a:lnTo>
                  <a:pt x="1711" y="59"/>
                </a:lnTo>
                <a:lnTo>
                  <a:pt x="1721" y="64"/>
                </a:lnTo>
                <a:lnTo>
                  <a:pt x="1730" y="70"/>
                </a:lnTo>
                <a:lnTo>
                  <a:pt x="1749" y="83"/>
                </a:lnTo>
                <a:lnTo>
                  <a:pt x="1768" y="97"/>
                </a:lnTo>
                <a:lnTo>
                  <a:pt x="1786" y="112"/>
                </a:lnTo>
                <a:lnTo>
                  <a:pt x="1794" y="120"/>
                </a:lnTo>
                <a:lnTo>
                  <a:pt x="1803" y="128"/>
                </a:lnTo>
                <a:lnTo>
                  <a:pt x="1810" y="137"/>
                </a:lnTo>
                <a:lnTo>
                  <a:pt x="1818" y="145"/>
                </a:lnTo>
                <a:lnTo>
                  <a:pt x="1826" y="154"/>
                </a:lnTo>
                <a:lnTo>
                  <a:pt x="1834" y="163"/>
                </a:lnTo>
                <a:lnTo>
                  <a:pt x="1848" y="183"/>
                </a:lnTo>
                <a:lnTo>
                  <a:pt x="1855" y="193"/>
                </a:lnTo>
                <a:lnTo>
                  <a:pt x="1862" y="204"/>
                </a:lnTo>
                <a:lnTo>
                  <a:pt x="1867" y="216"/>
                </a:lnTo>
                <a:lnTo>
                  <a:pt x="1874" y="227"/>
                </a:lnTo>
                <a:lnTo>
                  <a:pt x="1885" y="250"/>
                </a:lnTo>
                <a:lnTo>
                  <a:pt x="1896" y="275"/>
                </a:lnTo>
                <a:lnTo>
                  <a:pt x="1906" y="301"/>
                </a:lnTo>
                <a:lnTo>
                  <a:pt x="1914" y="328"/>
                </a:lnTo>
                <a:lnTo>
                  <a:pt x="1919" y="343"/>
                </a:lnTo>
                <a:lnTo>
                  <a:pt x="1922" y="357"/>
                </a:lnTo>
                <a:lnTo>
                  <a:pt x="1929" y="387"/>
                </a:lnTo>
                <a:lnTo>
                  <a:pt x="1932" y="403"/>
                </a:lnTo>
                <a:lnTo>
                  <a:pt x="1934" y="419"/>
                </a:lnTo>
                <a:lnTo>
                  <a:pt x="1936" y="435"/>
                </a:lnTo>
                <a:lnTo>
                  <a:pt x="1939" y="452"/>
                </a:lnTo>
                <a:lnTo>
                  <a:pt x="1941" y="486"/>
                </a:lnTo>
                <a:lnTo>
                  <a:pt x="1943" y="522"/>
                </a:lnTo>
                <a:lnTo>
                  <a:pt x="1944" y="560"/>
                </a:lnTo>
                <a:lnTo>
                  <a:pt x="1943" y="589"/>
                </a:lnTo>
                <a:lnTo>
                  <a:pt x="1942" y="617"/>
                </a:lnTo>
                <a:lnTo>
                  <a:pt x="1942" y="631"/>
                </a:lnTo>
                <a:lnTo>
                  <a:pt x="1244" y="631"/>
                </a:lnTo>
                <a:lnTo>
                  <a:pt x="1245" y="644"/>
                </a:lnTo>
                <a:lnTo>
                  <a:pt x="1246" y="659"/>
                </a:lnTo>
                <a:lnTo>
                  <a:pt x="1247" y="671"/>
                </a:lnTo>
                <a:lnTo>
                  <a:pt x="1249" y="684"/>
                </a:lnTo>
                <a:lnTo>
                  <a:pt x="1252" y="696"/>
                </a:lnTo>
                <a:lnTo>
                  <a:pt x="1254" y="709"/>
                </a:lnTo>
                <a:lnTo>
                  <a:pt x="1260" y="732"/>
                </a:lnTo>
                <a:lnTo>
                  <a:pt x="1265" y="743"/>
                </a:lnTo>
                <a:lnTo>
                  <a:pt x="1269" y="754"/>
                </a:lnTo>
                <a:lnTo>
                  <a:pt x="1274" y="764"/>
                </a:lnTo>
                <a:lnTo>
                  <a:pt x="1278" y="774"/>
                </a:lnTo>
                <a:lnTo>
                  <a:pt x="1284" y="784"/>
                </a:lnTo>
                <a:lnTo>
                  <a:pt x="1289" y="793"/>
                </a:lnTo>
                <a:lnTo>
                  <a:pt x="1296" y="802"/>
                </a:lnTo>
                <a:lnTo>
                  <a:pt x="1303" y="811"/>
                </a:lnTo>
                <a:lnTo>
                  <a:pt x="1310" y="819"/>
                </a:lnTo>
                <a:lnTo>
                  <a:pt x="1316" y="827"/>
                </a:lnTo>
                <a:lnTo>
                  <a:pt x="1324" y="833"/>
                </a:lnTo>
                <a:lnTo>
                  <a:pt x="1332" y="840"/>
                </a:lnTo>
                <a:lnTo>
                  <a:pt x="1341" y="846"/>
                </a:lnTo>
                <a:lnTo>
                  <a:pt x="1350" y="851"/>
                </a:lnTo>
                <a:lnTo>
                  <a:pt x="1359" y="857"/>
                </a:lnTo>
                <a:lnTo>
                  <a:pt x="1369" y="861"/>
                </a:lnTo>
                <a:lnTo>
                  <a:pt x="1379" y="865"/>
                </a:lnTo>
                <a:lnTo>
                  <a:pt x="1389" y="869"/>
                </a:lnTo>
                <a:lnTo>
                  <a:pt x="1400" y="871"/>
                </a:lnTo>
                <a:lnTo>
                  <a:pt x="1411" y="875"/>
                </a:lnTo>
                <a:lnTo>
                  <a:pt x="1422" y="876"/>
                </a:lnTo>
                <a:lnTo>
                  <a:pt x="1434" y="878"/>
                </a:lnTo>
                <a:lnTo>
                  <a:pt x="1447" y="878"/>
                </a:lnTo>
                <a:lnTo>
                  <a:pt x="1459" y="879"/>
                </a:lnTo>
                <a:lnTo>
                  <a:pt x="1469" y="879"/>
                </a:lnTo>
                <a:lnTo>
                  <a:pt x="1479" y="878"/>
                </a:lnTo>
                <a:lnTo>
                  <a:pt x="1489" y="877"/>
                </a:lnTo>
                <a:lnTo>
                  <a:pt x="1498" y="876"/>
                </a:lnTo>
                <a:lnTo>
                  <a:pt x="1507" y="875"/>
                </a:lnTo>
                <a:lnTo>
                  <a:pt x="1516" y="872"/>
                </a:lnTo>
                <a:lnTo>
                  <a:pt x="1534" y="868"/>
                </a:lnTo>
                <a:lnTo>
                  <a:pt x="1549" y="862"/>
                </a:lnTo>
                <a:lnTo>
                  <a:pt x="1557" y="859"/>
                </a:lnTo>
                <a:lnTo>
                  <a:pt x="1565" y="856"/>
                </a:lnTo>
                <a:lnTo>
                  <a:pt x="1578" y="848"/>
                </a:lnTo>
                <a:lnTo>
                  <a:pt x="1585" y="845"/>
                </a:lnTo>
                <a:lnTo>
                  <a:pt x="1592" y="840"/>
                </a:lnTo>
                <a:lnTo>
                  <a:pt x="1604" y="831"/>
                </a:lnTo>
                <a:lnTo>
                  <a:pt x="1615" y="821"/>
                </a:lnTo>
                <a:lnTo>
                  <a:pt x="1625" y="811"/>
                </a:lnTo>
                <a:lnTo>
                  <a:pt x="1634" y="801"/>
                </a:lnTo>
                <a:lnTo>
                  <a:pt x="1642" y="790"/>
                </a:lnTo>
                <a:lnTo>
                  <a:pt x="1649" y="779"/>
                </a:lnTo>
                <a:lnTo>
                  <a:pt x="1652" y="773"/>
                </a:lnTo>
                <a:lnTo>
                  <a:pt x="1654" y="768"/>
                </a:lnTo>
                <a:lnTo>
                  <a:pt x="1660" y="757"/>
                </a:lnTo>
                <a:lnTo>
                  <a:pt x="1931" y="752"/>
                </a:lnTo>
                <a:lnTo>
                  <a:pt x="1929" y="765"/>
                </a:lnTo>
                <a:close/>
                <a:moveTo>
                  <a:pt x="1460" y="216"/>
                </a:moveTo>
                <a:lnTo>
                  <a:pt x="1449" y="217"/>
                </a:lnTo>
                <a:lnTo>
                  <a:pt x="1437" y="218"/>
                </a:lnTo>
                <a:lnTo>
                  <a:pt x="1426" y="219"/>
                </a:lnTo>
                <a:lnTo>
                  <a:pt x="1414" y="221"/>
                </a:lnTo>
                <a:lnTo>
                  <a:pt x="1404" y="223"/>
                </a:lnTo>
                <a:lnTo>
                  <a:pt x="1394" y="227"/>
                </a:lnTo>
                <a:lnTo>
                  <a:pt x="1384" y="230"/>
                </a:lnTo>
                <a:lnTo>
                  <a:pt x="1375" y="233"/>
                </a:lnTo>
                <a:lnTo>
                  <a:pt x="1366" y="238"/>
                </a:lnTo>
                <a:lnTo>
                  <a:pt x="1359" y="243"/>
                </a:lnTo>
                <a:lnTo>
                  <a:pt x="1351" y="248"/>
                </a:lnTo>
                <a:lnTo>
                  <a:pt x="1343" y="253"/>
                </a:lnTo>
                <a:lnTo>
                  <a:pt x="1335" y="259"/>
                </a:lnTo>
                <a:lnTo>
                  <a:pt x="1329" y="266"/>
                </a:lnTo>
                <a:lnTo>
                  <a:pt x="1316" y="278"/>
                </a:lnTo>
                <a:lnTo>
                  <a:pt x="1310" y="285"/>
                </a:lnTo>
                <a:lnTo>
                  <a:pt x="1305" y="291"/>
                </a:lnTo>
                <a:lnTo>
                  <a:pt x="1295" y="306"/>
                </a:lnTo>
                <a:lnTo>
                  <a:pt x="1286" y="320"/>
                </a:lnTo>
                <a:lnTo>
                  <a:pt x="1279" y="335"/>
                </a:lnTo>
                <a:lnTo>
                  <a:pt x="1273" y="349"/>
                </a:lnTo>
                <a:lnTo>
                  <a:pt x="1268" y="364"/>
                </a:lnTo>
                <a:lnTo>
                  <a:pt x="1265" y="377"/>
                </a:lnTo>
                <a:lnTo>
                  <a:pt x="1263" y="390"/>
                </a:lnTo>
                <a:lnTo>
                  <a:pt x="1262" y="412"/>
                </a:lnTo>
                <a:lnTo>
                  <a:pt x="1661" y="412"/>
                </a:lnTo>
                <a:lnTo>
                  <a:pt x="1661" y="390"/>
                </a:lnTo>
                <a:lnTo>
                  <a:pt x="1658" y="377"/>
                </a:lnTo>
                <a:lnTo>
                  <a:pt x="1654" y="364"/>
                </a:lnTo>
                <a:lnTo>
                  <a:pt x="1650" y="349"/>
                </a:lnTo>
                <a:lnTo>
                  <a:pt x="1643" y="335"/>
                </a:lnTo>
                <a:lnTo>
                  <a:pt x="1636" y="320"/>
                </a:lnTo>
                <a:lnTo>
                  <a:pt x="1627" y="306"/>
                </a:lnTo>
                <a:lnTo>
                  <a:pt x="1617" y="291"/>
                </a:lnTo>
                <a:lnTo>
                  <a:pt x="1612" y="285"/>
                </a:lnTo>
                <a:lnTo>
                  <a:pt x="1606" y="278"/>
                </a:lnTo>
                <a:lnTo>
                  <a:pt x="1600" y="271"/>
                </a:lnTo>
                <a:lnTo>
                  <a:pt x="1593" y="266"/>
                </a:lnTo>
                <a:lnTo>
                  <a:pt x="1586" y="259"/>
                </a:lnTo>
                <a:lnTo>
                  <a:pt x="1578" y="253"/>
                </a:lnTo>
                <a:lnTo>
                  <a:pt x="1563" y="243"/>
                </a:lnTo>
                <a:lnTo>
                  <a:pt x="1555" y="238"/>
                </a:lnTo>
                <a:lnTo>
                  <a:pt x="1546" y="233"/>
                </a:lnTo>
                <a:lnTo>
                  <a:pt x="1537" y="230"/>
                </a:lnTo>
                <a:lnTo>
                  <a:pt x="1527" y="227"/>
                </a:lnTo>
                <a:lnTo>
                  <a:pt x="1517" y="223"/>
                </a:lnTo>
                <a:lnTo>
                  <a:pt x="1507" y="221"/>
                </a:lnTo>
                <a:lnTo>
                  <a:pt x="1496" y="219"/>
                </a:lnTo>
                <a:lnTo>
                  <a:pt x="1485" y="218"/>
                </a:lnTo>
                <a:lnTo>
                  <a:pt x="1472" y="217"/>
                </a:lnTo>
                <a:lnTo>
                  <a:pt x="1460" y="216"/>
                </a:lnTo>
                <a:close/>
                <a:moveTo>
                  <a:pt x="5407" y="410"/>
                </a:moveTo>
                <a:lnTo>
                  <a:pt x="5713" y="410"/>
                </a:lnTo>
                <a:lnTo>
                  <a:pt x="5713" y="368"/>
                </a:lnTo>
                <a:lnTo>
                  <a:pt x="5712" y="356"/>
                </a:lnTo>
                <a:lnTo>
                  <a:pt x="5710" y="344"/>
                </a:lnTo>
                <a:lnTo>
                  <a:pt x="5707" y="331"/>
                </a:lnTo>
                <a:lnTo>
                  <a:pt x="5702" y="320"/>
                </a:lnTo>
                <a:lnTo>
                  <a:pt x="5697" y="308"/>
                </a:lnTo>
                <a:lnTo>
                  <a:pt x="5693" y="302"/>
                </a:lnTo>
                <a:lnTo>
                  <a:pt x="5690" y="297"/>
                </a:lnTo>
                <a:lnTo>
                  <a:pt x="5681" y="286"/>
                </a:lnTo>
                <a:lnTo>
                  <a:pt x="5671" y="276"/>
                </a:lnTo>
                <a:lnTo>
                  <a:pt x="5660" y="267"/>
                </a:lnTo>
                <a:lnTo>
                  <a:pt x="5654" y="262"/>
                </a:lnTo>
                <a:lnTo>
                  <a:pt x="5648" y="258"/>
                </a:lnTo>
                <a:lnTo>
                  <a:pt x="5641" y="255"/>
                </a:lnTo>
                <a:lnTo>
                  <a:pt x="5633" y="251"/>
                </a:lnTo>
                <a:lnTo>
                  <a:pt x="5619" y="245"/>
                </a:lnTo>
                <a:lnTo>
                  <a:pt x="5602" y="239"/>
                </a:lnTo>
                <a:lnTo>
                  <a:pt x="5583" y="236"/>
                </a:lnTo>
                <a:lnTo>
                  <a:pt x="5574" y="233"/>
                </a:lnTo>
                <a:lnTo>
                  <a:pt x="5564" y="233"/>
                </a:lnTo>
                <a:lnTo>
                  <a:pt x="5553" y="232"/>
                </a:lnTo>
                <a:lnTo>
                  <a:pt x="5543" y="232"/>
                </a:lnTo>
                <a:lnTo>
                  <a:pt x="5520" y="232"/>
                </a:lnTo>
                <a:lnTo>
                  <a:pt x="5499" y="233"/>
                </a:lnTo>
                <a:lnTo>
                  <a:pt x="5481" y="236"/>
                </a:lnTo>
                <a:lnTo>
                  <a:pt x="5465" y="238"/>
                </a:lnTo>
                <a:lnTo>
                  <a:pt x="5449" y="241"/>
                </a:lnTo>
                <a:lnTo>
                  <a:pt x="5436" y="246"/>
                </a:lnTo>
                <a:lnTo>
                  <a:pt x="5423" y="251"/>
                </a:lnTo>
                <a:lnTo>
                  <a:pt x="5419" y="253"/>
                </a:lnTo>
                <a:lnTo>
                  <a:pt x="5413" y="257"/>
                </a:lnTo>
                <a:lnTo>
                  <a:pt x="5403" y="263"/>
                </a:lnTo>
                <a:lnTo>
                  <a:pt x="5399" y="267"/>
                </a:lnTo>
                <a:lnTo>
                  <a:pt x="5396" y="270"/>
                </a:lnTo>
                <a:lnTo>
                  <a:pt x="5388" y="278"/>
                </a:lnTo>
                <a:lnTo>
                  <a:pt x="5381" y="287"/>
                </a:lnTo>
                <a:lnTo>
                  <a:pt x="5375" y="296"/>
                </a:lnTo>
                <a:lnTo>
                  <a:pt x="5371" y="306"/>
                </a:lnTo>
                <a:lnTo>
                  <a:pt x="5367" y="317"/>
                </a:lnTo>
                <a:lnTo>
                  <a:pt x="5362" y="328"/>
                </a:lnTo>
                <a:lnTo>
                  <a:pt x="5360" y="336"/>
                </a:lnTo>
                <a:lnTo>
                  <a:pt x="5100" y="336"/>
                </a:lnTo>
                <a:lnTo>
                  <a:pt x="5103" y="320"/>
                </a:lnTo>
                <a:lnTo>
                  <a:pt x="5109" y="298"/>
                </a:lnTo>
                <a:lnTo>
                  <a:pt x="5116" y="276"/>
                </a:lnTo>
                <a:lnTo>
                  <a:pt x="5123" y="255"/>
                </a:lnTo>
                <a:lnTo>
                  <a:pt x="5131" y="235"/>
                </a:lnTo>
                <a:lnTo>
                  <a:pt x="5135" y="225"/>
                </a:lnTo>
                <a:lnTo>
                  <a:pt x="5139" y="216"/>
                </a:lnTo>
                <a:lnTo>
                  <a:pt x="5148" y="198"/>
                </a:lnTo>
                <a:lnTo>
                  <a:pt x="5157" y="181"/>
                </a:lnTo>
                <a:lnTo>
                  <a:pt x="5167" y="164"/>
                </a:lnTo>
                <a:lnTo>
                  <a:pt x="5177" y="149"/>
                </a:lnTo>
                <a:lnTo>
                  <a:pt x="5188" y="134"/>
                </a:lnTo>
                <a:lnTo>
                  <a:pt x="5194" y="128"/>
                </a:lnTo>
                <a:lnTo>
                  <a:pt x="5199" y="121"/>
                </a:lnTo>
                <a:lnTo>
                  <a:pt x="5206" y="115"/>
                </a:lnTo>
                <a:lnTo>
                  <a:pt x="5211" y="109"/>
                </a:lnTo>
                <a:lnTo>
                  <a:pt x="5224" y="97"/>
                </a:lnTo>
                <a:lnTo>
                  <a:pt x="5237" y="87"/>
                </a:lnTo>
                <a:lnTo>
                  <a:pt x="5251" y="75"/>
                </a:lnTo>
                <a:lnTo>
                  <a:pt x="5264" y="66"/>
                </a:lnTo>
                <a:lnTo>
                  <a:pt x="5278" y="58"/>
                </a:lnTo>
                <a:lnTo>
                  <a:pt x="5293" y="50"/>
                </a:lnTo>
                <a:lnTo>
                  <a:pt x="5309" y="42"/>
                </a:lnTo>
                <a:lnTo>
                  <a:pt x="5324" y="35"/>
                </a:lnTo>
                <a:lnTo>
                  <a:pt x="5340" y="30"/>
                </a:lnTo>
                <a:lnTo>
                  <a:pt x="5356" y="24"/>
                </a:lnTo>
                <a:lnTo>
                  <a:pt x="5373" y="20"/>
                </a:lnTo>
                <a:lnTo>
                  <a:pt x="5390" y="15"/>
                </a:lnTo>
                <a:lnTo>
                  <a:pt x="5408" y="12"/>
                </a:lnTo>
                <a:lnTo>
                  <a:pt x="5427" y="9"/>
                </a:lnTo>
                <a:lnTo>
                  <a:pt x="5445" y="6"/>
                </a:lnTo>
                <a:lnTo>
                  <a:pt x="5464" y="4"/>
                </a:lnTo>
                <a:lnTo>
                  <a:pt x="5483" y="3"/>
                </a:lnTo>
                <a:lnTo>
                  <a:pt x="5503" y="2"/>
                </a:lnTo>
                <a:lnTo>
                  <a:pt x="5523" y="1"/>
                </a:lnTo>
                <a:lnTo>
                  <a:pt x="5543" y="1"/>
                </a:lnTo>
                <a:lnTo>
                  <a:pt x="5565" y="1"/>
                </a:lnTo>
                <a:lnTo>
                  <a:pt x="5586" y="2"/>
                </a:lnTo>
                <a:lnTo>
                  <a:pt x="5609" y="4"/>
                </a:lnTo>
                <a:lnTo>
                  <a:pt x="5630" y="7"/>
                </a:lnTo>
                <a:lnTo>
                  <a:pt x="5650" y="12"/>
                </a:lnTo>
                <a:lnTo>
                  <a:pt x="5670" y="16"/>
                </a:lnTo>
                <a:lnTo>
                  <a:pt x="5690" y="22"/>
                </a:lnTo>
                <a:lnTo>
                  <a:pt x="5710" y="28"/>
                </a:lnTo>
                <a:lnTo>
                  <a:pt x="5729" y="35"/>
                </a:lnTo>
                <a:lnTo>
                  <a:pt x="5747" y="43"/>
                </a:lnTo>
                <a:lnTo>
                  <a:pt x="5765" y="51"/>
                </a:lnTo>
                <a:lnTo>
                  <a:pt x="5783" y="60"/>
                </a:lnTo>
                <a:lnTo>
                  <a:pt x="5799" y="70"/>
                </a:lnTo>
                <a:lnTo>
                  <a:pt x="5815" y="81"/>
                </a:lnTo>
                <a:lnTo>
                  <a:pt x="5831" y="92"/>
                </a:lnTo>
                <a:lnTo>
                  <a:pt x="5846" y="104"/>
                </a:lnTo>
                <a:lnTo>
                  <a:pt x="5860" y="117"/>
                </a:lnTo>
                <a:lnTo>
                  <a:pt x="5873" y="130"/>
                </a:lnTo>
                <a:lnTo>
                  <a:pt x="5886" y="143"/>
                </a:lnTo>
                <a:lnTo>
                  <a:pt x="5897" y="158"/>
                </a:lnTo>
                <a:lnTo>
                  <a:pt x="5909" y="172"/>
                </a:lnTo>
                <a:lnTo>
                  <a:pt x="5919" y="188"/>
                </a:lnTo>
                <a:lnTo>
                  <a:pt x="5929" y="203"/>
                </a:lnTo>
                <a:lnTo>
                  <a:pt x="5937" y="220"/>
                </a:lnTo>
                <a:lnTo>
                  <a:pt x="5941" y="229"/>
                </a:lnTo>
                <a:lnTo>
                  <a:pt x="5944" y="237"/>
                </a:lnTo>
                <a:lnTo>
                  <a:pt x="5948" y="246"/>
                </a:lnTo>
                <a:lnTo>
                  <a:pt x="5951" y="255"/>
                </a:lnTo>
                <a:lnTo>
                  <a:pt x="5957" y="272"/>
                </a:lnTo>
                <a:lnTo>
                  <a:pt x="5962" y="290"/>
                </a:lnTo>
                <a:lnTo>
                  <a:pt x="5963" y="300"/>
                </a:lnTo>
                <a:lnTo>
                  <a:pt x="5966" y="309"/>
                </a:lnTo>
                <a:lnTo>
                  <a:pt x="5968" y="329"/>
                </a:lnTo>
                <a:lnTo>
                  <a:pt x="5970" y="348"/>
                </a:lnTo>
                <a:lnTo>
                  <a:pt x="5970" y="368"/>
                </a:lnTo>
                <a:lnTo>
                  <a:pt x="5971" y="492"/>
                </a:lnTo>
                <a:lnTo>
                  <a:pt x="5970" y="616"/>
                </a:lnTo>
                <a:lnTo>
                  <a:pt x="5970" y="1093"/>
                </a:lnTo>
                <a:lnTo>
                  <a:pt x="5728" y="1093"/>
                </a:lnTo>
                <a:lnTo>
                  <a:pt x="5628" y="1093"/>
                </a:lnTo>
                <a:lnTo>
                  <a:pt x="5525" y="1093"/>
                </a:lnTo>
                <a:lnTo>
                  <a:pt x="5407" y="1093"/>
                </a:lnTo>
                <a:lnTo>
                  <a:pt x="5388" y="1093"/>
                </a:lnTo>
                <a:lnTo>
                  <a:pt x="5369" y="1092"/>
                </a:lnTo>
                <a:lnTo>
                  <a:pt x="5351" y="1089"/>
                </a:lnTo>
                <a:lnTo>
                  <a:pt x="5333" y="1087"/>
                </a:lnTo>
                <a:lnTo>
                  <a:pt x="5315" y="1084"/>
                </a:lnTo>
                <a:lnTo>
                  <a:pt x="5298" y="1079"/>
                </a:lnTo>
                <a:lnTo>
                  <a:pt x="5282" y="1075"/>
                </a:lnTo>
                <a:lnTo>
                  <a:pt x="5265" y="1069"/>
                </a:lnTo>
                <a:lnTo>
                  <a:pt x="5249" y="1064"/>
                </a:lnTo>
                <a:lnTo>
                  <a:pt x="5234" y="1056"/>
                </a:lnTo>
                <a:lnTo>
                  <a:pt x="5218" y="1049"/>
                </a:lnTo>
                <a:lnTo>
                  <a:pt x="5204" y="1040"/>
                </a:lnTo>
                <a:lnTo>
                  <a:pt x="5189" y="1032"/>
                </a:lnTo>
                <a:lnTo>
                  <a:pt x="5176" y="1023"/>
                </a:lnTo>
                <a:lnTo>
                  <a:pt x="5162" y="1013"/>
                </a:lnTo>
                <a:lnTo>
                  <a:pt x="5150" y="1001"/>
                </a:lnTo>
                <a:lnTo>
                  <a:pt x="5138" y="990"/>
                </a:lnTo>
                <a:lnTo>
                  <a:pt x="5127" y="979"/>
                </a:lnTo>
                <a:lnTo>
                  <a:pt x="5117" y="967"/>
                </a:lnTo>
                <a:lnTo>
                  <a:pt x="5107" y="954"/>
                </a:lnTo>
                <a:lnTo>
                  <a:pt x="5097" y="940"/>
                </a:lnTo>
                <a:lnTo>
                  <a:pt x="5089" y="927"/>
                </a:lnTo>
                <a:lnTo>
                  <a:pt x="5080" y="912"/>
                </a:lnTo>
                <a:lnTo>
                  <a:pt x="5073" y="898"/>
                </a:lnTo>
                <a:lnTo>
                  <a:pt x="5066" y="882"/>
                </a:lnTo>
                <a:lnTo>
                  <a:pt x="5061" y="867"/>
                </a:lnTo>
                <a:lnTo>
                  <a:pt x="5056" y="850"/>
                </a:lnTo>
                <a:lnTo>
                  <a:pt x="5052" y="833"/>
                </a:lnTo>
                <a:lnTo>
                  <a:pt x="5049" y="817"/>
                </a:lnTo>
                <a:lnTo>
                  <a:pt x="5046" y="800"/>
                </a:lnTo>
                <a:lnTo>
                  <a:pt x="5045" y="782"/>
                </a:lnTo>
                <a:lnTo>
                  <a:pt x="5045" y="763"/>
                </a:lnTo>
                <a:lnTo>
                  <a:pt x="5045" y="745"/>
                </a:lnTo>
                <a:lnTo>
                  <a:pt x="5046" y="728"/>
                </a:lnTo>
                <a:lnTo>
                  <a:pt x="5049" y="710"/>
                </a:lnTo>
                <a:lnTo>
                  <a:pt x="5052" y="693"/>
                </a:lnTo>
                <a:lnTo>
                  <a:pt x="5056" y="675"/>
                </a:lnTo>
                <a:lnTo>
                  <a:pt x="5061" y="659"/>
                </a:lnTo>
                <a:lnTo>
                  <a:pt x="5066" y="642"/>
                </a:lnTo>
                <a:lnTo>
                  <a:pt x="5073" y="626"/>
                </a:lnTo>
                <a:lnTo>
                  <a:pt x="5080" y="611"/>
                </a:lnTo>
                <a:lnTo>
                  <a:pt x="5088" y="595"/>
                </a:lnTo>
                <a:lnTo>
                  <a:pt x="5097" y="581"/>
                </a:lnTo>
                <a:lnTo>
                  <a:pt x="5106" y="566"/>
                </a:lnTo>
                <a:lnTo>
                  <a:pt x="5116" y="553"/>
                </a:lnTo>
                <a:lnTo>
                  <a:pt x="5127" y="540"/>
                </a:lnTo>
                <a:lnTo>
                  <a:pt x="5138" y="526"/>
                </a:lnTo>
                <a:lnTo>
                  <a:pt x="5150" y="514"/>
                </a:lnTo>
                <a:lnTo>
                  <a:pt x="5162" y="503"/>
                </a:lnTo>
                <a:lnTo>
                  <a:pt x="5176" y="492"/>
                </a:lnTo>
                <a:lnTo>
                  <a:pt x="5189" y="481"/>
                </a:lnTo>
                <a:lnTo>
                  <a:pt x="5203" y="472"/>
                </a:lnTo>
                <a:lnTo>
                  <a:pt x="5218" y="462"/>
                </a:lnTo>
                <a:lnTo>
                  <a:pt x="5233" y="454"/>
                </a:lnTo>
                <a:lnTo>
                  <a:pt x="5248" y="446"/>
                </a:lnTo>
                <a:lnTo>
                  <a:pt x="5265" y="438"/>
                </a:lnTo>
                <a:lnTo>
                  <a:pt x="5281" y="433"/>
                </a:lnTo>
                <a:lnTo>
                  <a:pt x="5298" y="427"/>
                </a:lnTo>
                <a:lnTo>
                  <a:pt x="5315" y="422"/>
                </a:lnTo>
                <a:lnTo>
                  <a:pt x="5333" y="418"/>
                </a:lnTo>
                <a:lnTo>
                  <a:pt x="5351" y="415"/>
                </a:lnTo>
                <a:lnTo>
                  <a:pt x="5369" y="413"/>
                </a:lnTo>
                <a:lnTo>
                  <a:pt x="5388" y="412"/>
                </a:lnTo>
                <a:lnTo>
                  <a:pt x="5407" y="410"/>
                </a:lnTo>
                <a:close/>
                <a:moveTo>
                  <a:pt x="5713" y="835"/>
                </a:moveTo>
                <a:lnTo>
                  <a:pt x="5712" y="750"/>
                </a:lnTo>
                <a:lnTo>
                  <a:pt x="5712" y="634"/>
                </a:lnTo>
                <a:lnTo>
                  <a:pt x="5428" y="634"/>
                </a:lnTo>
                <a:lnTo>
                  <a:pt x="5413" y="634"/>
                </a:lnTo>
                <a:lnTo>
                  <a:pt x="5407" y="635"/>
                </a:lnTo>
                <a:lnTo>
                  <a:pt x="5400" y="636"/>
                </a:lnTo>
                <a:lnTo>
                  <a:pt x="5388" y="640"/>
                </a:lnTo>
                <a:lnTo>
                  <a:pt x="5382" y="641"/>
                </a:lnTo>
                <a:lnTo>
                  <a:pt x="5375" y="643"/>
                </a:lnTo>
                <a:lnTo>
                  <a:pt x="5365" y="649"/>
                </a:lnTo>
                <a:lnTo>
                  <a:pt x="5354" y="655"/>
                </a:lnTo>
                <a:lnTo>
                  <a:pt x="5345" y="662"/>
                </a:lnTo>
                <a:lnTo>
                  <a:pt x="5336" y="670"/>
                </a:lnTo>
                <a:lnTo>
                  <a:pt x="5333" y="674"/>
                </a:lnTo>
                <a:lnTo>
                  <a:pt x="5329" y="679"/>
                </a:lnTo>
                <a:lnTo>
                  <a:pt x="5322" y="688"/>
                </a:lnTo>
                <a:lnTo>
                  <a:pt x="5316" y="696"/>
                </a:lnTo>
                <a:lnTo>
                  <a:pt x="5312" y="708"/>
                </a:lnTo>
                <a:lnTo>
                  <a:pt x="5309" y="718"/>
                </a:lnTo>
                <a:lnTo>
                  <a:pt x="5305" y="729"/>
                </a:lnTo>
                <a:lnTo>
                  <a:pt x="5304" y="739"/>
                </a:lnTo>
                <a:lnTo>
                  <a:pt x="5303" y="750"/>
                </a:lnTo>
                <a:lnTo>
                  <a:pt x="5304" y="761"/>
                </a:lnTo>
                <a:lnTo>
                  <a:pt x="5305" y="772"/>
                </a:lnTo>
                <a:lnTo>
                  <a:pt x="5309" y="783"/>
                </a:lnTo>
                <a:lnTo>
                  <a:pt x="5312" y="793"/>
                </a:lnTo>
                <a:lnTo>
                  <a:pt x="5316" y="803"/>
                </a:lnTo>
                <a:lnTo>
                  <a:pt x="5320" y="808"/>
                </a:lnTo>
                <a:lnTo>
                  <a:pt x="5322" y="812"/>
                </a:lnTo>
                <a:lnTo>
                  <a:pt x="5329" y="822"/>
                </a:lnTo>
                <a:lnTo>
                  <a:pt x="5336" y="830"/>
                </a:lnTo>
                <a:lnTo>
                  <a:pt x="5345" y="838"/>
                </a:lnTo>
                <a:lnTo>
                  <a:pt x="5354" y="845"/>
                </a:lnTo>
                <a:lnTo>
                  <a:pt x="5364" y="851"/>
                </a:lnTo>
                <a:lnTo>
                  <a:pt x="5375" y="857"/>
                </a:lnTo>
                <a:lnTo>
                  <a:pt x="5388" y="861"/>
                </a:lnTo>
                <a:lnTo>
                  <a:pt x="5400" y="863"/>
                </a:lnTo>
                <a:lnTo>
                  <a:pt x="5407" y="865"/>
                </a:lnTo>
                <a:lnTo>
                  <a:pt x="5413" y="866"/>
                </a:lnTo>
                <a:lnTo>
                  <a:pt x="5428" y="867"/>
                </a:lnTo>
                <a:lnTo>
                  <a:pt x="5713" y="867"/>
                </a:lnTo>
                <a:lnTo>
                  <a:pt x="5713" y="835"/>
                </a:lnTo>
                <a:close/>
                <a:moveTo>
                  <a:pt x="254" y="405"/>
                </a:moveTo>
                <a:lnTo>
                  <a:pt x="260" y="404"/>
                </a:lnTo>
                <a:lnTo>
                  <a:pt x="271" y="400"/>
                </a:lnTo>
                <a:lnTo>
                  <a:pt x="282" y="397"/>
                </a:lnTo>
                <a:lnTo>
                  <a:pt x="305" y="390"/>
                </a:lnTo>
                <a:lnTo>
                  <a:pt x="325" y="381"/>
                </a:lnTo>
                <a:lnTo>
                  <a:pt x="345" y="371"/>
                </a:lnTo>
                <a:lnTo>
                  <a:pt x="364" y="360"/>
                </a:lnTo>
                <a:lnTo>
                  <a:pt x="383" y="349"/>
                </a:lnTo>
                <a:lnTo>
                  <a:pt x="399" y="336"/>
                </a:lnTo>
                <a:lnTo>
                  <a:pt x="416" y="322"/>
                </a:lnTo>
                <a:lnTo>
                  <a:pt x="432" y="308"/>
                </a:lnTo>
                <a:lnTo>
                  <a:pt x="447" y="294"/>
                </a:lnTo>
                <a:lnTo>
                  <a:pt x="462" y="279"/>
                </a:lnTo>
                <a:lnTo>
                  <a:pt x="468" y="271"/>
                </a:lnTo>
                <a:lnTo>
                  <a:pt x="475" y="263"/>
                </a:lnTo>
                <a:lnTo>
                  <a:pt x="487" y="247"/>
                </a:lnTo>
                <a:lnTo>
                  <a:pt x="500" y="231"/>
                </a:lnTo>
                <a:lnTo>
                  <a:pt x="511" y="216"/>
                </a:lnTo>
                <a:lnTo>
                  <a:pt x="521" y="199"/>
                </a:lnTo>
                <a:lnTo>
                  <a:pt x="540" y="168"/>
                </a:lnTo>
                <a:lnTo>
                  <a:pt x="557" y="138"/>
                </a:lnTo>
                <a:lnTo>
                  <a:pt x="570" y="111"/>
                </a:lnTo>
                <a:lnTo>
                  <a:pt x="580" y="87"/>
                </a:lnTo>
                <a:lnTo>
                  <a:pt x="589" y="65"/>
                </a:lnTo>
                <a:lnTo>
                  <a:pt x="595" y="50"/>
                </a:lnTo>
                <a:lnTo>
                  <a:pt x="599" y="35"/>
                </a:lnTo>
                <a:lnTo>
                  <a:pt x="605" y="20"/>
                </a:lnTo>
                <a:lnTo>
                  <a:pt x="843" y="20"/>
                </a:lnTo>
                <a:lnTo>
                  <a:pt x="840" y="42"/>
                </a:lnTo>
                <a:lnTo>
                  <a:pt x="837" y="58"/>
                </a:lnTo>
                <a:lnTo>
                  <a:pt x="833" y="75"/>
                </a:lnTo>
                <a:lnTo>
                  <a:pt x="827" y="99"/>
                </a:lnTo>
                <a:lnTo>
                  <a:pt x="819" y="127"/>
                </a:lnTo>
                <a:lnTo>
                  <a:pt x="809" y="160"/>
                </a:lnTo>
                <a:lnTo>
                  <a:pt x="802" y="178"/>
                </a:lnTo>
                <a:lnTo>
                  <a:pt x="794" y="196"/>
                </a:lnTo>
                <a:lnTo>
                  <a:pt x="786" y="215"/>
                </a:lnTo>
                <a:lnTo>
                  <a:pt x="777" y="235"/>
                </a:lnTo>
                <a:lnTo>
                  <a:pt x="769" y="253"/>
                </a:lnTo>
                <a:lnTo>
                  <a:pt x="760" y="274"/>
                </a:lnTo>
                <a:lnTo>
                  <a:pt x="748" y="292"/>
                </a:lnTo>
                <a:lnTo>
                  <a:pt x="737" y="312"/>
                </a:lnTo>
                <a:lnTo>
                  <a:pt x="725" y="332"/>
                </a:lnTo>
                <a:lnTo>
                  <a:pt x="712" y="353"/>
                </a:lnTo>
                <a:lnTo>
                  <a:pt x="697" y="373"/>
                </a:lnTo>
                <a:lnTo>
                  <a:pt x="682" y="393"/>
                </a:lnTo>
                <a:lnTo>
                  <a:pt x="666" y="413"/>
                </a:lnTo>
                <a:lnTo>
                  <a:pt x="648" y="433"/>
                </a:lnTo>
                <a:lnTo>
                  <a:pt x="630" y="452"/>
                </a:lnTo>
                <a:lnTo>
                  <a:pt x="610" y="471"/>
                </a:lnTo>
                <a:lnTo>
                  <a:pt x="590" y="489"/>
                </a:lnTo>
                <a:lnTo>
                  <a:pt x="579" y="498"/>
                </a:lnTo>
                <a:lnTo>
                  <a:pt x="568" y="507"/>
                </a:lnTo>
                <a:lnTo>
                  <a:pt x="545" y="524"/>
                </a:lnTo>
                <a:lnTo>
                  <a:pt x="521" y="541"/>
                </a:lnTo>
                <a:lnTo>
                  <a:pt x="514" y="545"/>
                </a:lnTo>
                <a:lnTo>
                  <a:pt x="521" y="548"/>
                </a:lnTo>
                <a:lnTo>
                  <a:pt x="545" y="565"/>
                </a:lnTo>
                <a:lnTo>
                  <a:pt x="569" y="584"/>
                </a:lnTo>
                <a:lnTo>
                  <a:pt x="591" y="602"/>
                </a:lnTo>
                <a:lnTo>
                  <a:pt x="612" y="622"/>
                </a:lnTo>
                <a:lnTo>
                  <a:pt x="632" y="641"/>
                </a:lnTo>
                <a:lnTo>
                  <a:pt x="641" y="651"/>
                </a:lnTo>
                <a:lnTo>
                  <a:pt x="651" y="661"/>
                </a:lnTo>
                <a:lnTo>
                  <a:pt x="660" y="672"/>
                </a:lnTo>
                <a:lnTo>
                  <a:pt x="668" y="682"/>
                </a:lnTo>
                <a:lnTo>
                  <a:pt x="685" y="703"/>
                </a:lnTo>
                <a:lnTo>
                  <a:pt x="701" y="724"/>
                </a:lnTo>
                <a:lnTo>
                  <a:pt x="715" y="745"/>
                </a:lnTo>
                <a:lnTo>
                  <a:pt x="728" y="767"/>
                </a:lnTo>
                <a:lnTo>
                  <a:pt x="742" y="788"/>
                </a:lnTo>
                <a:lnTo>
                  <a:pt x="753" y="809"/>
                </a:lnTo>
                <a:lnTo>
                  <a:pt x="764" y="829"/>
                </a:lnTo>
                <a:lnTo>
                  <a:pt x="774" y="850"/>
                </a:lnTo>
                <a:lnTo>
                  <a:pt x="783" y="870"/>
                </a:lnTo>
                <a:lnTo>
                  <a:pt x="792" y="890"/>
                </a:lnTo>
                <a:lnTo>
                  <a:pt x="801" y="911"/>
                </a:lnTo>
                <a:lnTo>
                  <a:pt x="808" y="930"/>
                </a:lnTo>
                <a:lnTo>
                  <a:pt x="814" y="949"/>
                </a:lnTo>
                <a:lnTo>
                  <a:pt x="820" y="967"/>
                </a:lnTo>
                <a:lnTo>
                  <a:pt x="825" y="984"/>
                </a:lnTo>
                <a:lnTo>
                  <a:pt x="833" y="1014"/>
                </a:lnTo>
                <a:lnTo>
                  <a:pt x="839" y="1038"/>
                </a:lnTo>
                <a:lnTo>
                  <a:pt x="843" y="1057"/>
                </a:lnTo>
                <a:lnTo>
                  <a:pt x="846" y="1074"/>
                </a:lnTo>
                <a:lnTo>
                  <a:pt x="849" y="1093"/>
                </a:lnTo>
                <a:lnTo>
                  <a:pt x="609" y="1093"/>
                </a:lnTo>
                <a:lnTo>
                  <a:pt x="607" y="1083"/>
                </a:lnTo>
                <a:lnTo>
                  <a:pt x="601" y="1067"/>
                </a:lnTo>
                <a:lnTo>
                  <a:pt x="596" y="1049"/>
                </a:lnTo>
                <a:lnTo>
                  <a:pt x="587" y="1027"/>
                </a:lnTo>
                <a:lnTo>
                  <a:pt x="576" y="1000"/>
                </a:lnTo>
                <a:lnTo>
                  <a:pt x="562" y="970"/>
                </a:lnTo>
                <a:lnTo>
                  <a:pt x="545" y="938"/>
                </a:lnTo>
                <a:lnTo>
                  <a:pt x="537" y="921"/>
                </a:lnTo>
                <a:lnTo>
                  <a:pt x="527" y="904"/>
                </a:lnTo>
                <a:lnTo>
                  <a:pt x="515" y="887"/>
                </a:lnTo>
                <a:lnTo>
                  <a:pt x="504" y="869"/>
                </a:lnTo>
                <a:lnTo>
                  <a:pt x="492" y="851"/>
                </a:lnTo>
                <a:lnTo>
                  <a:pt x="479" y="835"/>
                </a:lnTo>
                <a:lnTo>
                  <a:pt x="472" y="826"/>
                </a:lnTo>
                <a:lnTo>
                  <a:pt x="465" y="818"/>
                </a:lnTo>
                <a:lnTo>
                  <a:pt x="451" y="801"/>
                </a:lnTo>
                <a:lnTo>
                  <a:pt x="435" y="786"/>
                </a:lnTo>
                <a:lnTo>
                  <a:pt x="419" y="770"/>
                </a:lnTo>
                <a:lnTo>
                  <a:pt x="403" y="755"/>
                </a:lnTo>
                <a:lnTo>
                  <a:pt x="385" y="742"/>
                </a:lnTo>
                <a:lnTo>
                  <a:pt x="375" y="735"/>
                </a:lnTo>
                <a:lnTo>
                  <a:pt x="366" y="730"/>
                </a:lnTo>
                <a:lnTo>
                  <a:pt x="347" y="718"/>
                </a:lnTo>
                <a:lnTo>
                  <a:pt x="326" y="708"/>
                </a:lnTo>
                <a:lnTo>
                  <a:pt x="316" y="703"/>
                </a:lnTo>
                <a:lnTo>
                  <a:pt x="305" y="699"/>
                </a:lnTo>
                <a:lnTo>
                  <a:pt x="294" y="694"/>
                </a:lnTo>
                <a:lnTo>
                  <a:pt x="283" y="691"/>
                </a:lnTo>
                <a:lnTo>
                  <a:pt x="260" y="685"/>
                </a:lnTo>
                <a:lnTo>
                  <a:pt x="254" y="684"/>
                </a:lnTo>
                <a:lnTo>
                  <a:pt x="254" y="1093"/>
                </a:lnTo>
                <a:lnTo>
                  <a:pt x="0" y="1093"/>
                </a:lnTo>
                <a:lnTo>
                  <a:pt x="0" y="556"/>
                </a:lnTo>
                <a:lnTo>
                  <a:pt x="0" y="20"/>
                </a:lnTo>
                <a:lnTo>
                  <a:pt x="254" y="20"/>
                </a:lnTo>
                <a:lnTo>
                  <a:pt x="254" y="405"/>
                </a:lnTo>
                <a:close/>
                <a:moveTo>
                  <a:pt x="3423" y="367"/>
                </a:moveTo>
                <a:lnTo>
                  <a:pt x="3423" y="1093"/>
                </a:lnTo>
                <a:lnTo>
                  <a:pt x="3168" y="1093"/>
                </a:lnTo>
                <a:lnTo>
                  <a:pt x="3168" y="363"/>
                </a:lnTo>
                <a:lnTo>
                  <a:pt x="3168" y="349"/>
                </a:lnTo>
                <a:lnTo>
                  <a:pt x="3166" y="336"/>
                </a:lnTo>
                <a:lnTo>
                  <a:pt x="3162" y="324"/>
                </a:lnTo>
                <a:lnTo>
                  <a:pt x="3161" y="318"/>
                </a:lnTo>
                <a:lnTo>
                  <a:pt x="3159" y="312"/>
                </a:lnTo>
                <a:lnTo>
                  <a:pt x="3153" y="301"/>
                </a:lnTo>
                <a:lnTo>
                  <a:pt x="3147" y="290"/>
                </a:lnTo>
                <a:lnTo>
                  <a:pt x="3140" y="280"/>
                </a:lnTo>
                <a:lnTo>
                  <a:pt x="3132" y="271"/>
                </a:lnTo>
                <a:lnTo>
                  <a:pt x="3123" y="263"/>
                </a:lnTo>
                <a:lnTo>
                  <a:pt x="3114" y="257"/>
                </a:lnTo>
                <a:lnTo>
                  <a:pt x="3109" y="253"/>
                </a:lnTo>
                <a:lnTo>
                  <a:pt x="3104" y="250"/>
                </a:lnTo>
                <a:lnTo>
                  <a:pt x="3093" y="245"/>
                </a:lnTo>
                <a:lnTo>
                  <a:pt x="3088" y="242"/>
                </a:lnTo>
                <a:lnTo>
                  <a:pt x="3082" y="241"/>
                </a:lnTo>
                <a:lnTo>
                  <a:pt x="3070" y="238"/>
                </a:lnTo>
                <a:lnTo>
                  <a:pt x="3058" y="236"/>
                </a:lnTo>
                <a:lnTo>
                  <a:pt x="3045" y="236"/>
                </a:lnTo>
                <a:lnTo>
                  <a:pt x="3033" y="236"/>
                </a:lnTo>
                <a:lnTo>
                  <a:pt x="3021" y="238"/>
                </a:lnTo>
                <a:lnTo>
                  <a:pt x="3008" y="241"/>
                </a:lnTo>
                <a:lnTo>
                  <a:pt x="2997" y="246"/>
                </a:lnTo>
                <a:lnTo>
                  <a:pt x="2992" y="248"/>
                </a:lnTo>
                <a:lnTo>
                  <a:pt x="2986" y="251"/>
                </a:lnTo>
                <a:lnTo>
                  <a:pt x="2976" y="258"/>
                </a:lnTo>
                <a:lnTo>
                  <a:pt x="2972" y="261"/>
                </a:lnTo>
                <a:lnTo>
                  <a:pt x="2967" y="265"/>
                </a:lnTo>
                <a:lnTo>
                  <a:pt x="2958" y="274"/>
                </a:lnTo>
                <a:lnTo>
                  <a:pt x="2950" y="282"/>
                </a:lnTo>
                <a:lnTo>
                  <a:pt x="2946" y="287"/>
                </a:lnTo>
                <a:lnTo>
                  <a:pt x="2943" y="292"/>
                </a:lnTo>
                <a:lnTo>
                  <a:pt x="2937" y="304"/>
                </a:lnTo>
                <a:lnTo>
                  <a:pt x="2931" y="315"/>
                </a:lnTo>
                <a:lnTo>
                  <a:pt x="2929" y="320"/>
                </a:lnTo>
                <a:lnTo>
                  <a:pt x="2927" y="326"/>
                </a:lnTo>
                <a:lnTo>
                  <a:pt x="2924" y="339"/>
                </a:lnTo>
                <a:lnTo>
                  <a:pt x="2923" y="351"/>
                </a:lnTo>
                <a:lnTo>
                  <a:pt x="2921" y="358"/>
                </a:lnTo>
                <a:lnTo>
                  <a:pt x="2921" y="365"/>
                </a:lnTo>
                <a:lnTo>
                  <a:pt x="2921" y="1093"/>
                </a:lnTo>
                <a:lnTo>
                  <a:pt x="2669" y="1093"/>
                </a:lnTo>
                <a:lnTo>
                  <a:pt x="2669" y="365"/>
                </a:lnTo>
                <a:lnTo>
                  <a:pt x="2669" y="351"/>
                </a:lnTo>
                <a:lnTo>
                  <a:pt x="2667" y="339"/>
                </a:lnTo>
                <a:lnTo>
                  <a:pt x="2664" y="326"/>
                </a:lnTo>
                <a:lnTo>
                  <a:pt x="2663" y="320"/>
                </a:lnTo>
                <a:lnTo>
                  <a:pt x="2660" y="315"/>
                </a:lnTo>
                <a:lnTo>
                  <a:pt x="2655" y="304"/>
                </a:lnTo>
                <a:lnTo>
                  <a:pt x="2648" y="292"/>
                </a:lnTo>
                <a:lnTo>
                  <a:pt x="2641" y="282"/>
                </a:lnTo>
                <a:lnTo>
                  <a:pt x="2637" y="278"/>
                </a:lnTo>
                <a:lnTo>
                  <a:pt x="2634" y="274"/>
                </a:lnTo>
                <a:lnTo>
                  <a:pt x="2629" y="269"/>
                </a:lnTo>
                <a:lnTo>
                  <a:pt x="2625" y="265"/>
                </a:lnTo>
                <a:lnTo>
                  <a:pt x="2615" y="258"/>
                </a:lnTo>
                <a:lnTo>
                  <a:pt x="2605" y="251"/>
                </a:lnTo>
                <a:lnTo>
                  <a:pt x="2593" y="246"/>
                </a:lnTo>
                <a:lnTo>
                  <a:pt x="2582" y="241"/>
                </a:lnTo>
                <a:lnTo>
                  <a:pt x="2577" y="239"/>
                </a:lnTo>
                <a:lnTo>
                  <a:pt x="2571" y="238"/>
                </a:lnTo>
                <a:lnTo>
                  <a:pt x="2559" y="236"/>
                </a:lnTo>
                <a:lnTo>
                  <a:pt x="2552" y="236"/>
                </a:lnTo>
                <a:lnTo>
                  <a:pt x="2546" y="236"/>
                </a:lnTo>
                <a:lnTo>
                  <a:pt x="2533" y="236"/>
                </a:lnTo>
                <a:lnTo>
                  <a:pt x="2528" y="237"/>
                </a:lnTo>
                <a:lnTo>
                  <a:pt x="2521" y="238"/>
                </a:lnTo>
                <a:lnTo>
                  <a:pt x="2510" y="241"/>
                </a:lnTo>
                <a:lnTo>
                  <a:pt x="2499" y="245"/>
                </a:lnTo>
                <a:lnTo>
                  <a:pt x="2488" y="250"/>
                </a:lnTo>
                <a:lnTo>
                  <a:pt x="2477" y="257"/>
                </a:lnTo>
                <a:lnTo>
                  <a:pt x="2467" y="263"/>
                </a:lnTo>
                <a:lnTo>
                  <a:pt x="2460" y="271"/>
                </a:lnTo>
                <a:lnTo>
                  <a:pt x="2451" y="280"/>
                </a:lnTo>
                <a:lnTo>
                  <a:pt x="2444" y="290"/>
                </a:lnTo>
                <a:lnTo>
                  <a:pt x="2438" y="301"/>
                </a:lnTo>
                <a:lnTo>
                  <a:pt x="2433" y="312"/>
                </a:lnTo>
                <a:lnTo>
                  <a:pt x="2431" y="318"/>
                </a:lnTo>
                <a:lnTo>
                  <a:pt x="2428" y="324"/>
                </a:lnTo>
                <a:lnTo>
                  <a:pt x="2425" y="336"/>
                </a:lnTo>
                <a:lnTo>
                  <a:pt x="2424" y="349"/>
                </a:lnTo>
                <a:lnTo>
                  <a:pt x="2423" y="356"/>
                </a:lnTo>
                <a:lnTo>
                  <a:pt x="2423" y="363"/>
                </a:lnTo>
                <a:lnTo>
                  <a:pt x="2423" y="1093"/>
                </a:lnTo>
                <a:lnTo>
                  <a:pt x="2168" y="1093"/>
                </a:lnTo>
                <a:lnTo>
                  <a:pt x="2168" y="367"/>
                </a:lnTo>
                <a:lnTo>
                  <a:pt x="2168" y="348"/>
                </a:lnTo>
                <a:lnTo>
                  <a:pt x="2170" y="329"/>
                </a:lnTo>
                <a:lnTo>
                  <a:pt x="2172" y="310"/>
                </a:lnTo>
                <a:lnTo>
                  <a:pt x="2175" y="292"/>
                </a:lnTo>
                <a:lnTo>
                  <a:pt x="2179" y="275"/>
                </a:lnTo>
                <a:lnTo>
                  <a:pt x="2183" y="258"/>
                </a:lnTo>
                <a:lnTo>
                  <a:pt x="2189" y="240"/>
                </a:lnTo>
                <a:lnTo>
                  <a:pt x="2194" y="223"/>
                </a:lnTo>
                <a:lnTo>
                  <a:pt x="2201" y="208"/>
                </a:lnTo>
                <a:lnTo>
                  <a:pt x="2209" y="192"/>
                </a:lnTo>
                <a:lnTo>
                  <a:pt x="2212" y="184"/>
                </a:lnTo>
                <a:lnTo>
                  <a:pt x="2216" y="177"/>
                </a:lnTo>
                <a:lnTo>
                  <a:pt x="2225" y="161"/>
                </a:lnTo>
                <a:lnTo>
                  <a:pt x="2235" y="148"/>
                </a:lnTo>
                <a:lnTo>
                  <a:pt x="2245" y="133"/>
                </a:lnTo>
                <a:lnTo>
                  <a:pt x="2258" y="120"/>
                </a:lnTo>
                <a:lnTo>
                  <a:pt x="2269" y="108"/>
                </a:lnTo>
                <a:lnTo>
                  <a:pt x="2281" y="95"/>
                </a:lnTo>
                <a:lnTo>
                  <a:pt x="2288" y="90"/>
                </a:lnTo>
                <a:lnTo>
                  <a:pt x="2295" y="83"/>
                </a:lnTo>
                <a:lnTo>
                  <a:pt x="2309" y="73"/>
                </a:lnTo>
                <a:lnTo>
                  <a:pt x="2324" y="63"/>
                </a:lnTo>
                <a:lnTo>
                  <a:pt x="2339" y="53"/>
                </a:lnTo>
                <a:lnTo>
                  <a:pt x="2355" y="44"/>
                </a:lnTo>
                <a:lnTo>
                  <a:pt x="2371" y="36"/>
                </a:lnTo>
                <a:lnTo>
                  <a:pt x="2389" y="29"/>
                </a:lnTo>
                <a:lnTo>
                  <a:pt x="2407" y="22"/>
                </a:lnTo>
                <a:lnTo>
                  <a:pt x="2425" y="16"/>
                </a:lnTo>
                <a:lnTo>
                  <a:pt x="2445" y="12"/>
                </a:lnTo>
                <a:lnTo>
                  <a:pt x="2464" y="7"/>
                </a:lnTo>
                <a:lnTo>
                  <a:pt x="2485" y="4"/>
                </a:lnTo>
                <a:lnTo>
                  <a:pt x="2506" y="2"/>
                </a:lnTo>
                <a:lnTo>
                  <a:pt x="2528" y="1"/>
                </a:lnTo>
                <a:lnTo>
                  <a:pt x="2550" y="1"/>
                </a:lnTo>
                <a:lnTo>
                  <a:pt x="2569" y="1"/>
                </a:lnTo>
                <a:lnTo>
                  <a:pt x="2588" y="2"/>
                </a:lnTo>
                <a:lnTo>
                  <a:pt x="2606" y="4"/>
                </a:lnTo>
                <a:lnTo>
                  <a:pt x="2624" y="6"/>
                </a:lnTo>
                <a:lnTo>
                  <a:pt x="2640" y="10"/>
                </a:lnTo>
                <a:lnTo>
                  <a:pt x="2657" y="13"/>
                </a:lnTo>
                <a:lnTo>
                  <a:pt x="2673" y="17"/>
                </a:lnTo>
                <a:lnTo>
                  <a:pt x="2688" y="22"/>
                </a:lnTo>
                <a:lnTo>
                  <a:pt x="2704" y="28"/>
                </a:lnTo>
                <a:lnTo>
                  <a:pt x="2718" y="34"/>
                </a:lnTo>
                <a:lnTo>
                  <a:pt x="2732" y="41"/>
                </a:lnTo>
                <a:lnTo>
                  <a:pt x="2745" y="48"/>
                </a:lnTo>
                <a:lnTo>
                  <a:pt x="2759" y="55"/>
                </a:lnTo>
                <a:lnTo>
                  <a:pt x="2771" y="64"/>
                </a:lnTo>
                <a:lnTo>
                  <a:pt x="2782" y="72"/>
                </a:lnTo>
                <a:lnTo>
                  <a:pt x="2793" y="82"/>
                </a:lnTo>
                <a:lnTo>
                  <a:pt x="2799" y="82"/>
                </a:lnTo>
                <a:lnTo>
                  <a:pt x="2810" y="72"/>
                </a:lnTo>
                <a:lnTo>
                  <a:pt x="2822" y="64"/>
                </a:lnTo>
                <a:lnTo>
                  <a:pt x="2834" y="55"/>
                </a:lnTo>
                <a:lnTo>
                  <a:pt x="2847" y="48"/>
                </a:lnTo>
                <a:lnTo>
                  <a:pt x="2860" y="41"/>
                </a:lnTo>
                <a:lnTo>
                  <a:pt x="2873" y="34"/>
                </a:lnTo>
                <a:lnTo>
                  <a:pt x="2888" y="28"/>
                </a:lnTo>
                <a:lnTo>
                  <a:pt x="2904" y="22"/>
                </a:lnTo>
                <a:lnTo>
                  <a:pt x="2918" y="17"/>
                </a:lnTo>
                <a:lnTo>
                  <a:pt x="2935" y="13"/>
                </a:lnTo>
                <a:lnTo>
                  <a:pt x="2952" y="10"/>
                </a:lnTo>
                <a:lnTo>
                  <a:pt x="2968" y="6"/>
                </a:lnTo>
                <a:lnTo>
                  <a:pt x="2986" y="4"/>
                </a:lnTo>
                <a:lnTo>
                  <a:pt x="3004" y="2"/>
                </a:lnTo>
                <a:lnTo>
                  <a:pt x="3023" y="1"/>
                </a:lnTo>
                <a:lnTo>
                  <a:pt x="3042" y="1"/>
                </a:lnTo>
                <a:lnTo>
                  <a:pt x="3064" y="1"/>
                </a:lnTo>
                <a:lnTo>
                  <a:pt x="3085" y="2"/>
                </a:lnTo>
                <a:lnTo>
                  <a:pt x="3107" y="4"/>
                </a:lnTo>
                <a:lnTo>
                  <a:pt x="3127" y="7"/>
                </a:lnTo>
                <a:lnTo>
                  <a:pt x="3147" y="12"/>
                </a:lnTo>
                <a:lnTo>
                  <a:pt x="3166" y="16"/>
                </a:lnTo>
                <a:lnTo>
                  <a:pt x="3175" y="20"/>
                </a:lnTo>
                <a:lnTo>
                  <a:pt x="3185" y="22"/>
                </a:lnTo>
                <a:lnTo>
                  <a:pt x="3203" y="29"/>
                </a:lnTo>
                <a:lnTo>
                  <a:pt x="3219" y="36"/>
                </a:lnTo>
                <a:lnTo>
                  <a:pt x="3236" y="44"/>
                </a:lnTo>
                <a:lnTo>
                  <a:pt x="3253" y="53"/>
                </a:lnTo>
                <a:lnTo>
                  <a:pt x="3267" y="63"/>
                </a:lnTo>
                <a:lnTo>
                  <a:pt x="3283" y="73"/>
                </a:lnTo>
                <a:lnTo>
                  <a:pt x="3296" y="83"/>
                </a:lnTo>
                <a:lnTo>
                  <a:pt x="3310" y="95"/>
                </a:lnTo>
                <a:lnTo>
                  <a:pt x="3322" y="108"/>
                </a:lnTo>
                <a:lnTo>
                  <a:pt x="3334" y="120"/>
                </a:lnTo>
                <a:lnTo>
                  <a:pt x="3345" y="133"/>
                </a:lnTo>
                <a:lnTo>
                  <a:pt x="3355" y="148"/>
                </a:lnTo>
                <a:lnTo>
                  <a:pt x="3365" y="161"/>
                </a:lnTo>
                <a:lnTo>
                  <a:pt x="3374" y="177"/>
                </a:lnTo>
                <a:lnTo>
                  <a:pt x="3383" y="192"/>
                </a:lnTo>
                <a:lnTo>
                  <a:pt x="3390" y="208"/>
                </a:lnTo>
                <a:lnTo>
                  <a:pt x="3397" y="223"/>
                </a:lnTo>
                <a:lnTo>
                  <a:pt x="3403" y="240"/>
                </a:lnTo>
                <a:lnTo>
                  <a:pt x="3408" y="258"/>
                </a:lnTo>
                <a:lnTo>
                  <a:pt x="3412" y="275"/>
                </a:lnTo>
                <a:lnTo>
                  <a:pt x="3417" y="292"/>
                </a:lnTo>
                <a:lnTo>
                  <a:pt x="3419" y="310"/>
                </a:lnTo>
                <a:lnTo>
                  <a:pt x="3421" y="329"/>
                </a:lnTo>
                <a:lnTo>
                  <a:pt x="3422" y="348"/>
                </a:lnTo>
                <a:lnTo>
                  <a:pt x="3423" y="367"/>
                </a:lnTo>
                <a:close/>
                <a:moveTo>
                  <a:pt x="4521" y="364"/>
                </a:moveTo>
                <a:lnTo>
                  <a:pt x="4521" y="1093"/>
                </a:lnTo>
                <a:lnTo>
                  <a:pt x="4264" y="1093"/>
                </a:lnTo>
                <a:lnTo>
                  <a:pt x="4264" y="360"/>
                </a:lnTo>
                <a:lnTo>
                  <a:pt x="4264" y="343"/>
                </a:lnTo>
                <a:lnTo>
                  <a:pt x="4266" y="324"/>
                </a:lnTo>
                <a:lnTo>
                  <a:pt x="4268" y="306"/>
                </a:lnTo>
                <a:lnTo>
                  <a:pt x="4270" y="288"/>
                </a:lnTo>
                <a:lnTo>
                  <a:pt x="4274" y="270"/>
                </a:lnTo>
                <a:lnTo>
                  <a:pt x="4279" y="253"/>
                </a:lnTo>
                <a:lnTo>
                  <a:pt x="4283" y="237"/>
                </a:lnTo>
                <a:lnTo>
                  <a:pt x="4290" y="220"/>
                </a:lnTo>
                <a:lnTo>
                  <a:pt x="4297" y="204"/>
                </a:lnTo>
                <a:lnTo>
                  <a:pt x="4300" y="196"/>
                </a:lnTo>
                <a:lnTo>
                  <a:pt x="4303" y="189"/>
                </a:lnTo>
                <a:lnTo>
                  <a:pt x="4312" y="173"/>
                </a:lnTo>
                <a:lnTo>
                  <a:pt x="4321" y="159"/>
                </a:lnTo>
                <a:lnTo>
                  <a:pt x="4330" y="144"/>
                </a:lnTo>
                <a:lnTo>
                  <a:pt x="4341" y="131"/>
                </a:lnTo>
                <a:lnTo>
                  <a:pt x="4353" y="118"/>
                </a:lnTo>
                <a:lnTo>
                  <a:pt x="4364" y="105"/>
                </a:lnTo>
                <a:lnTo>
                  <a:pt x="4377" y="93"/>
                </a:lnTo>
                <a:lnTo>
                  <a:pt x="4389" y="82"/>
                </a:lnTo>
                <a:lnTo>
                  <a:pt x="4404" y="71"/>
                </a:lnTo>
                <a:lnTo>
                  <a:pt x="4418" y="61"/>
                </a:lnTo>
                <a:lnTo>
                  <a:pt x="4434" y="52"/>
                </a:lnTo>
                <a:lnTo>
                  <a:pt x="4450" y="43"/>
                </a:lnTo>
                <a:lnTo>
                  <a:pt x="4466" y="35"/>
                </a:lnTo>
                <a:lnTo>
                  <a:pt x="4483" y="29"/>
                </a:lnTo>
                <a:lnTo>
                  <a:pt x="4502" y="22"/>
                </a:lnTo>
                <a:lnTo>
                  <a:pt x="4520" y="16"/>
                </a:lnTo>
                <a:lnTo>
                  <a:pt x="4539" y="12"/>
                </a:lnTo>
                <a:lnTo>
                  <a:pt x="4559" y="7"/>
                </a:lnTo>
                <a:lnTo>
                  <a:pt x="4579" y="4"/>
                </a:lnTo>
                <a:lnTo>
                  <a:pt x="4600" y="2"/>
                </a:lnTo>
                <a:lnTo>
                  <a:pt x="4621" y="1"/>
                </a:lnTo>
                <a:lnTo>
                  <a:pt x="4644" y="1"/>
                </a:lnTo>
                <a:lnTo>
                  <a:pt x="4667" y="1"/>
                </a:lnTo>
                <a:lnTo>
                  <a:pt x="4689" y="3"/>
                </a:lnTo>
                <a:lnTo>
                  <a:pt x="4711" y="5"/>
                </a:lnTo>
                <a:lnTo>
                  <a:pt x="4732" y="7"/>
                </a:lnTo>
                <a:lnTo>
                  <a:pt x="4752" y="12"/>
                </a:lnTo>
                <a:lnTo>
                  <a:pt x="4771" y="16"/>
                </a:lnTo>
                <a:lnTo>
                  <a:pt x="4789" y="22"/>
                </a:lnTo>
                <a:lnTo>
                  <a:pt x="4807" y="28"/>
                </a:lnTo>
                <a:lnTo>
                  <a:pt x="4823" y="34"/>
                </a:lnTo>
                <a:lnTo>
                  <a:pt x="4839" y="41"/>
                </a:lnTo>
                <a:lnTo>
                  <a:pt x="4855" y="49"/>
                </a:lnTo>
                <a:lnTo>
                  <a:pt x="4869" y="58"/>
                </a:lnTo>
                <a:lnTo>
                  <a:pt x="4882" y="66"/>
                </a:lnTo>
                <a:lnTo>
                  <a:pt x="4895" y="76"/>
                </a:lnTo>
                <a:lnTo>
                  <a:pt x="4907" y="87"/>
                </a:lnTo>
                <a:lnTo>
                  <a:pt x="4919" y="98"/>
                </a:lnTo>
                <a:lnTo>
                  <a:pt x="4930" y="109"/>
                </a:lnTo>
                <a:lnTo>
                  <a:pt x="4940" y="120"/>
                </a:lnTo>
                <a:lnTo>
                  <a:pt x="4949" y="132"/>
                </a:lnTo>
                <a:lnTo>
                  <a:pt x="4958" y="145"/>
                </a:lnTo>
                <a:lnTo>
                  <a:pt x="4967" y="158"/>
                </a:lnTo>
                <a:lnTo>
                  <a:pt x="4975" y="171"/>
                </a:lnTo>
                <a:lnTo>
                  <a:pt x="4982" y="186"/>
                </a:lnTo>
                <a:lnTo>
                  <a:pt x="4988" y="199"/>
                </a:lnTo>
                <a:lnTo>
                  <a:pt x="4994" y="213"/>
                </a:lnTo>
                <a:lnTo>
                  <a:pt x="5000" y="228"/>
                </a:lnTo>
                <a:lnTo>
                  <a:pt x="5004" y="243"/>
                </a:lnTo>
                <a:lnTo>
                  <a:pt x="5007" y="258"/>
                </a:lnTo>
                <a:lnTo>
                  <a:pt x="5012" y="274"/>
                </a:lnTo>
                <a:lnTo>
                  <a:pt x="5014" y="289"/>
                </a:lnTo>
                <a:lnTo>
                  <a:pt x="5016" y="305"/>
                </a:lnTo>
                <a:lnTo>
                  <a:pt x="5019" y="321"/>
                </a:lnTo>
                <a:lnTo>
                  <a:pt x="5020" y="336"/>
                </a:lnTo>
                <a:lnTo>
                  <a:pt x="4764" y="336"/>
                </a:lnTo>
                <a:lnTo>
                  <a:pt x="4762" y="325"/>
                </a:lnTo>
                <a:lnTo>
                  <a:pt x="4760" y="316"/>
                </a:lnTo>
                <a:lnTo>
                  <a:pt x="4756" y="307"/>
                </a:lnTo>
                <a:lnTo>
                  <a:pt x="4753" y="299"/>
                </a:lnTo>
                <a:lnTo>
                  <a:pt x="4749" y="291"/>
                </a:lnTo>
                <a:lnTo>
                  <a:pt x="4743" y="284"/>
                </a:lnTo>
                <a:lnTo>
                  <a:pt x="4737" y="276"/>
                </a:lnTo>
                <a:lnTo>
                  <a:pt x="4734" y="272"/>
                </a:lnTo>
                <a:lnTo>
                  <a:pt x="4731" y="269"/>
                </a:lnTo>
                <a:lnTo>
                  <a:pt x="4723" y="262"/>
                </a:lnTo>
                <a:lnTo>
                  <a:pt x="4715" y="257"/>
                </a:lnTo>
                <a:lnTo>
                  <a:pt x="4707" y="251"/>
                </a:lnTo>
                <a:lnTo>
                  <a:pt x="4698" y="247"/>
                </a:lnTo>
                <a:lnTo>
                  <a:pt x="4688" y="242"/>
                </a:lnTo>
                <a:lnTo>
                  <a:pt x="4678" y="240"/>
                </a:lnTo>
                <a:lnTo>
                  <a:pt x="4667" y="238"/>
                </a:lnTo>
                <a:lnTo>
                  <a:pt x="4656" y="236"/>
                </a:lnTo>
                <a:lnTo>
                  <a:pt x="4644" y="236"/>
                </a:lnTo>
                <a:lnTo>
                  <a:pt x="4629" y="236"/>
                </a:lnTo>
                <a:lnTo>
                  <a:pt x="4616" y="238"/>
                </a:lnTo>
                <a:lnTo>
                  <a:pt x="4602" y="241"/>
                </a:lnTo>
                <a:lnTo>
                  <a:pt x="4597" y="243"/>
                </a:lnTo>
                <a:lnTo>
                  <a:pt x="4590" y="246"/>
                </a:lnTo>
                <a:lnTo>
                  <a:pt x="4579" y="250"/>
                </a:lnTo>
                <a:lnTo>
                  <a:pt x="4575" y="253"/>
                </a:lnTo>
                <a:lnTo>
                  <a:pt x="4569" y="257"/>
                </a:lnTo>
                <a:lnTo>
                  <a:pt x="4565" y="260"/>
                </a:lnTo>
                <a:lnTo>
                  <a:pt x="4560" y="265"/>
                </a:lnTo>
                <a:lnTo>
                  <a:pt x="4552" y="272"/>
                </a:lnTo>
                <a:lnTo>
                  <a:pt x="4544" y="281"/>
                </a:lnTo>
                <a:lnTo>
                  <a:pt x="4539" y="291"/>
                </a:lnTo>
                <a:lnTo>
                  <a:pt x="4533" y="301"/>
                </a:lnTo>
                <a:lnTo>
                  <a:pt x="4529" y="312"/>
                </a:lnTo>
                <a:lnTo>
                  <a:pt x="4527" y="319"/>
                </a:lnTo>
                <a:lnTo>
                  <a:pt x="4525" y="325"/>
                </a:lnTo>
                <a:lnTo>
                  <a:pt x="4523" y="337"/>
                </a:lnTo>
                <a:lnTo>
                  <a:pt x="4521" y="350"/>
                </a:lnTo>
                <a:lnTo>
                  <a:pt x="4521" y="364"/>
                </a:lnTo>
                <a:close/>
                <a:moveTo>
                  <a:pt x="3716" y="20"/>
                </a:moveTo>
                <a:lnTo>
                  <a:pt x="3972" y="20"/>
                </a:lnTo>
                <a:lnTo>
                  <a:pt x="3972" y="556"/>
                </a:lnTo>
                <a:lnTo>
                  <a:pt x="3972" y="1093"/>
                </a:lnTo>
                <a:lnTo>
                  <a:pt x="3716" y="1093"/>
                </a:lnTo>
                <a:lnTo>
                  <a:pt x="3716" y="556"/>
                </a:lnTo>
                <a:lnTo>
                  <a:pt x="3716" y="2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0201" tIns="40100" rIns="80201" bIns="40100" numCol="1" anchor="t" anchorCtr="0" compatLnSpc="1">
            <a:prstTxWarp prst="textNoShape">
              <a:avLst/>
            </a:prstTxWarp>
          </a:bodyPr>
          <a:lstStyle/>
          <a:p>
            <a:endParaRPr lang="en-US" sz="1579"/>
          </a:p>
        </p:txBody>
      </p:sp>
      <p:sp>
        <p:nvSpPr>
          <p:cNvPr id="7" name="Freeform 7">
            <a:hlinkClick r:id="rId2" tooltip="Twitter"/>
          </p:cNvPr>
          <p:cNvSpPr>
            <a:spLocks noChangeAspect="1" noEditPoints="1"/>
          </p:cNvSpPr>
          <p:nvPr/>
        </p:nvSpPr>
        <p:spPr bwMode="auto">
          <a:xfrm>
            <a:off x="4904629" y="685083"/>
            <a:ext cx="252600" cy="317600"/>
          </a:xfrm>
          <a:custGeom>
            <a:avLst/>
            <a:gdLst>
              <a:gd name="T0" fmla="*/ 1215 w 2806"/>
              <a:gd name="T1" fmla="*/ 2154 h 2806"/>
              <a:gd name="T2" fmla="*/ 1391 w 2806"/>
              <a:gd name="T3" fmla="*/ 2115 h 2806"/>
              <a:gd name="T4" fmla="*/ 1549 w 2806"/>
              <a:gd name="T5" fmla="*/ 2052 h 2806"/>
              <a:gd name="T6" fmla="*/ 1690 w 2806"/>
              <a:gd name="T7" fmla="*/ 1968 h 2806"/>
              <a:gd name="T8" fmla="*/ 1813 w 2806"/>
              <a:gd name="T9" fmla="*/ 1866 h 2806"/>
              <a:gd name="T10" fmla="*/ 1917 w 2806"/>
              <a:gd name="T11" fmla="*/ 1747 h 2806"/>
              <a:gd name="T12" fmla="*/ 2002 w 2806"/>
              <a:gd name="T13" fmla="*/ 1618 h 2806"/>
              <a:gd name="T14" fmla="*/ 2069 w 2806"/>
              <a:gd name="T15" fmla="*/ 1479 h 2806"/>
              <a:gd name="T16" fmla="*/ 2115 w 2806"/>
              <a:gd name="T17" fmla="*/ 1336 h 2806"/>
              <a:gd name="T18" fmla="*/ 2144 w 2806"/>
              <a:gd name="T19" fmla="*/ 1166 h 2806"/>
              <a:gd name="T20" fmla="*/ 2148 w 2806"/>
              <a:gd name="T21" fmla="*/ 1022 h 2806"/>
              <a:gd name="T22" fmla="*/ 2264 w 2806"/>
              <a:gd name="T23" fmla="*/ 918 h 2806"/>
              <a:gd name="T24" fmla="*/ 2340 w 2806"/>
              <a:gd name="T25" fmla="*/ 822 h 2806"/>
              <a:gd name="T26" fmla="*/ 2176 w 2806"/>
              <a:gd name="T27" fmla="*/ 873 h 2806"/>
              <a:gd name="T28" fmla="*/ 2175 w 2806"/>
              <a:gd name="T29" fmla="*/ 842 h 2806"/>
              <a:gd name="T30" fmla="*/ 2242 w 2806"/>
              <a:gd name="T31" fmla="*/ 764 h 2806"/>
              <a:gd name="T32" fmla="*/ 2288 w 2806"/>
              <a:gd name="T33" fmla="*/ 670 h 2806"/>
              <a:gd name="T34" fmla="*/ 2139 w 2806"/>
              <a:gd name="T35" fmla="*/ 738 h 2806"/>
              <a:gd name="T36" fmla="*/ 2016 w 2806"/>
              <a:gd name="T37" fmla="*/ 737 h 2806"/>
              <a:gd name="T38" fmla="*/ 1919 w 2806"/>
              <a:gd name="T39" fmla="*/ 674 h 2806"/>
              <a:gd name="T40" fmla="*/ 1804 w 2806"/>
              <a:gd name="T41" fmla="*/ 644 h 2806"/>
              <a:gd name="T42" fmla="*/ 1685 w 2806"/>
              <a:gd name="T43" fmla="*/ 649 h 2806"/>
              <a:gd name="T44" fmla="*/ 1580 w 2806"/>
              <a:gd name="T45" fmla="*/ 689 h 2806"/>
              <a:gd name="T46" fmla="*/ 1491 w 2806"/>
              <a:gd name="T47" fmla="*/ 754 h 2806"/>
              <a:gd name="T48" fmla="*/ 1425 w 2806"/>
              <a:gd name="T49" fmla="*/ 844 h 2806"/>
              <a:gd name="T50" fmla="*/ 1391 w 2806"/>
              <a:gd name="T51" fmla="*/ 930 h 2806"/>
              <a:gd name="T52" fmla="*/ 1380 w 2806"/>
              <a:gd name="T53" fmla="*/ 1049 h 2806"/>
              <a:gd name="T54" fmla="*/ 1329 w 2806"/>
              <a:gd name="T55" fmla="*/ 1110 h 2806"/>
              <a:gd name="T56" fmla="*/ 1157 w 2806"/>
              <a:gd name="T57" fmla="*/ 1077 h 2806"/>
              <a:gd name="T58" fmla="*/ 995 w 2806"/>
              <a:gd name="T59" fmla="*/ 1019 h 2806"/>
              <a:gd name="T60" fmla="*/ 846 w 2806"/>
              <a:gd name="T61" fmla="*/ 938 h 2806"/>
              <a:gd name="T62" fmla="*/ 713 w 2806"/>
              <a:gd name="T63" fmla="*/ 835 h 2806"/>
              <a:gd name="T64" fmla="*/ 596 w 2806"/>
              <a:gd name="T65" fmla="*/ 712 h 2806"/>
              <a:gd name="T66" fmla="*/ 558 w 2806"/>
              <a:gd name="T67" fmla="*/ 804 h 2806"/>
              <a:gd name="T68" fmla="*/ 544 w 2806"/>
              <a:gd name="T69" fmla="*/ 892 h 2806"/>
              <a:gd name="T70" fmla="*/ 549 w 2806"/>
              <a:gd name="T71" fmla="*/ 967 h 2806"/>
              <a:gd name="T72" fmla="*/ 577 w 2806"/>
              <a:gd name="T73" fmla="*/ 1058 h 2806"/>
              <a:gd name="T74" fmla="*/ 630 w 2806"/>
              <a:gd name="T75" fmla="*/ 1148 h 2806"/>
              <a:gd name="T76" fmla="*/ 704 w 2806"/>
              <a:gd name="T77" fmla="*/ 1225 h 2806"/>
              <a:gd name="T78" fmla="*/ 603 w 2806"/>
              <a:gd name="T79" fmla="*/ 1205 h 2806"/>
              <a:gd name="T80" fmla="*/ 542 w 2806"/>
              <a:gd name="T81" fmla="*/ 1200 h 2806"/>
              <a:gd name="T82" fmla="*/ 559 w 2806"/>
              <a:gd name="T83" fmla="*/ 1299 h 2806"/>
              <a:gd name="T84" fmla="*/ 601 w 2806"/>
              <a:gd name="T85" fmla="*/ 1388 h 2806"/>
              <a:gd name="T86" fmla="*/ 652 w 2806"/>
              <a:gd name="T87" fmla="*/ 1451 h 2806"/>
              <a:gd name="T88" fmla="*/ 728 w 2806"/>
              <a:gd name="T89" fmla="*/ 1512 h 2806"/>
              <a:gd name="T90" fmla="*/ 818 w 2806"/>
              <a:gd name="T91" fmla="*/ 1551 h 2806"/>
              <a:gd name="T92" fmla="*/ 775 w 2806"/>
              <a:gd name="T93" fmla="*/ 1571 h 2806"/>
              <a:gd name="T94" fmla="*/ 682 w 2806"/>
              <a:gd name="T95" fmla="*/ 1580 h 2806"/>
              <a:gd name="T96" fmla="*/ 721 w 2806"/>
              <a:gd name="T97" fmla="*/ 1659 h 2806"/>
              <a:gd name="T98" fmla="*/ 777 w 2806"/>
              <a:gd name="T99" fmla="*/ 1727 h 2806"/>
              <a:gd name="T100" fmla="*/ 848 w 2806"/>
              <a:gd name="T101" fmla="*/ 1779 h 2806"/>
              <a:gd name="T102" fmla="*/ 929 w 2806"/>
              <a:gd name="T103" fmla="*/ 1816 h 2806"/>
              <a:gd name="T104" fmla="*/ 1036 w 2806"/>
              <a:gd name="T105" fmla="*/ 1832 h 2806"/>
              <a:gd name="T106" fmla="*/ 930 w 2806"/>
              <a:gd name="T107" fmla="*/ 1901 h 2806"/>
              <a:gd name="T108" fmla="*/ 770 w 2806"/>
              <a:gd name="T109" fmla="*/ 1968 h 2806"/>
              <a:gd name="T110" fmla="*/ 625 w 2806"/>
              <a:gd name="T111" fmla="*/ 1994 h 2806"/>
              <a:gd name="T112" fmla="*/ 489 w 2806"/>
              <a:gd name="T113" fmla="*/ 1994 h 2806"/>
              <a:gd name="T114" fmla="*/ 600 w 2806"/>
              <a:gd name="T115" fmla="*/ 2065 h 2806"/>
              <a:gd name="T116" fmla="*/ 819 w 2806"/>
              <a:gd name="T117" fmla="*/ 2138 h 2806"/>
              <a:gd name="T118" fmla="*/ 935 w 2806"/>
              <a:gd name="T119" fmla="*/ 2158 h 2806"/>
              <a:gd name="T120" fmla="*/ 0 w 2806"/>
              <a:gd name="T121" fmla="*/ 0 h 2806"/>
              <a:gd name="T122" fmla="*/ 2806 w 2806"/>
              <a:gd name="T123" fmla="*/ 1403 h 2806"/>
              <a:gd name="T124" fmla="*/ 0 w 2806"/>
              <a:gd name="T125" fmla="*/ 2806 h 28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806" h="2806">
                <a:moveTo>
                  <a:pt x="1055" y="2164"/>
                </a:moveTo>
                <a:lnTo>
                  <a:pt x="1089" y="2164"/>
                </a:lnTo>
                <a:lnTo>
                  <a:pt x="1121" y="2162"/>
                </a:lnTo>
                <a:lnTo>
                  <a:pt x="1153" y="2160"/>
                </a:lnTo>
                <a:lnTo>
                  <a:pt x="1184" y="2158"/>
                </a:lnTo>
                <a:lnTo>
                  <a:pt x="1215" y="2154"/>
                </a:lnTo>
                <a:lnTo>
                  <a:pt x="1246" y="2149"/>
                </a:lnTo>
                <a:lnTo>
                  <a:pt x="1276" y="2144"/>
                </a:lnTo>
                <a:lnTo>
                  <a:pt x="1305" y="2138"/>
                </a:lnTo>
                <a:lnTo>
                  <a:pt x="1335" y="2132"/>
                </a:lnTo>
                <a:lnTo>
                  <a:pt x="1364" y="2124"/>
                </a:lnTo>
                <a:lnTo>
                  <a:pt x="1391" y="2115"/>
                </a:lnTo>
                <a:lnTo>
                  <a:pt x="1419" y="2107"/>
                </a:lnTo>
                <a:lnTo>
                  <a:pt x="1446" y="2097"/>
                </a:lnTo>
                <a:lnTo>
                  <a:pt x="1472" y="2087"/>
                </a:lnTo>
                <a:lnTo>
                  <a:pt x="1498" y="2076"/>
                </a:lnTo>
                <a:lnTo>
                  <a:pt x="1524" y="2065"/>
                </a:lnTo>
                <a:lnTo>
                  <a:pt x="1549" y="2052"/>
                </a:lnTo>
                <a:lnTo>
                  <a:pt x="1574" y="2040"/>
                </a:lnTo>
                <a:lnTo>
                  <a:pt x="1599" y="2026"/>
                </a:lnTo>
                <a:lnTo>
                  <a:pt x="1622" y="2013"/>
                </a:lnTo>
                <a:lnTo>
                  <a:pt x="1646" y="1998"/>
                </a:lnTo>
                <a:lnTo>
                  <a:pt x="1668" y="1983"/>
                </a:lnTo>
                <a:lnTo>
                  <a:pt x="1690" y="1968"/>
                </a:lnTo>
                <a:lnTo>
                  <a:pt x="1712" y="1952"/>
                </a:lnTo>
                <a:lnTo>
                  <a:pt x="1733" y="1936"/>
                </a:lnTo>
                <a:lnTo>
                  <a:pt x="1753" y="1919"/>
                </a:lnTo>
                <a:lnTo>
                  <a:pt x="1774" y="1901"/>
                </a:lnTo>
                <a:lnTo>
                  <a:pt x="1794" y="1883"/>
                </a:lnTo>
                <a:lnTo>
                  <a:pt x="1813" y="1866"/>
                </a:lnTo>
                <a:lnTo>
                  <a:pt x="1831" y="1847"/>
                </a:lnTo>
                <a:lnTo>
                  <a:pt x="1850" y="1827"/>
                </a:lnTo>
                <a:lnTo>
                  <a:pt x="1867" y="1807"/>
                </a:lnTo>
                <a:lnTo>
                  <a:pt x="1884" y="1788"/>
                </a:lnTo>
                <a:lnTo>
                  <a:pt x="1900" y="1768"/>
                </a:lnTo>
                <a:lnTo>
                  <a:pt x="1917" y="1747"/>
                </a:lnTo>
                <a:lnTo>
                  <a:pt x="1933" y="1727"/>
                </a:lnTo>
                <a:lnTo>
                  <a:pt x="1947" y="1705"/>
                </a:lnTo>
                <a:lnTo>
                  <a:pt x="1962" y="1684"/>
                </a:lnTo>
                <a:lnTo>
                  <a:pt x="1976" y="1661"/>
                </a:lnTo>
                <a:lnTo>
                  <a:pt x="1990" y="1640"/>
                </a:lnTo>
                <a:lnTo>
                  <a:pt x="2002" y="1618"/>
                </a:lnTo>
                <a:lnTo>
                  <a:pt x="2014" y="1595"/>
                </a:lnTo>
                <a:lnTo>
                  <a:pt x="2027" y="1572"/>
                </a:lnTo>
                <a:lnTo>
                  <a:pt x="2038" y="1549"/>
                </a:lnTo>
                <a:lnTo>
                  <a:pt x="2048" y="1526"/>
                </a:lnTo>
                <a:lnTo>
                  <a:pt x="2059" y="1503"/>
                </a:lnTo>
                <a:lnTo>
                  <a:pt x="2069" y="1479"/>
                </a:lnTo>
                <a:lnTo>
                  <a:pt x="2077" y="1456"/>
                </a:lnTo>
                <a:lnTo>
                  <a:pt x="2086" y="1432"/>
                </a:lnTo>
                <a:lnTo>
                  <a:pt x="2093" y="1408"/>
                </a:lnTo>
                <a:lnTo>
                  <a:pt x="2101" y="1384"/>
                </a:lnTo>
                <a:lnTo>
                  <a:pt x="2108" y="1361"/>
                </a:lnTo>
                <a:lnTo>
                  <a:pt x="2115" y="1336"/>
                </a:lnTo>
                <a:lnTo>
                  <a:pt x="2121" y="1312"/>
                </a:lnTo>
                <a:lnTo>
                  <a:pt x="2126" y="1288"/>
                </a:lnTo>
                <a:lnTo>
                  <a:pt x="2131" y="1263"/>
                </a:lnTo>
                <a:lnTo>
                  <a:pt x="2136" y="1239"/>
                </a:lnTo>
                <a:lnTo>
                  <a:pt x="2138" y="1215"/>
                </a:lnTo>
                <a:lnTo>
                  <a:pt x="2144" y="1166"/>
                </a:lnTo>
                <a:lnTo>
                  <a:pt x="2147" y="1143"/>
                </a:lnTo>
                <a:lnTo>
                  <a:pt x="2148" y="1118"/>
                </a:lnTo>
                <a:lnTo>
                  <a:pt x="2148" y="1095"/>
                </a:lnTo>
                <a:lnTo>
                  <a:pt x="2149" y="1071"/>
                </a:lnTo>
                <a:lnTo>
                  <a:pt x="2148" y="1046"/>
                </a:lnTo>
                <a:lnTo>
                  <a:pt x="2148" y="1022"/>
                </a:lnTo>
                <a:lnTo>
                  <a:pt x="2175" y="1001"/>
                </a:lnTo>
                <a:lnTo>
                  <a:pt x="2189" y="990"/>
                </a:lnTo>
                <a:lnTo>
                  <a:pt x="2202" y="978"/>
                </a:lnTo>
                <a:lnTo>
                  <a:pt x="2228" y="955"/>
                </a:lnTo>
                <a:lnTo>
                  <a:pt x="2252" y="930"/>
                </a:lnTo>
                <a:lnTo>
                  <a:pt x="2264" y="918"/>
                </a:lnTo>
                <a:lnTo>
                  <a:pt x="2275" y="904"/>
                </a:lnTo>
                <a:lnTo>
                  <a:pt x="2288" y="892"/>
                </a:lnTo>
                <a:lnTo>
                  <a:pt x="2299" y="878"/>
                </a:lnTo>
                <a:lnTo>
                  <a:pt x="2320" y="851"/>
                </a:lnTo>
                <a:lnTo>
                  <a:pt x="2330" y="836"/>
                </a:lnTo>
                <a:lnTo>
                  <a:pt x="2340" y="822"/>
                </a:lnTo>
                <a:lnTo>
                  <a:pt x="2314" y="834"/>
                </a:lnTo>
                <a:lnTo>
                  <a:pt x="2286" y="844"/>
                </a:lnTo>
                <a:lnTo>
                  <a:pt x="2259" y="852"/>
                </a:lnTo>
                <a:lnTo>
                  <a:pt x="2232" y="861"/>
                </a:lnTo>
                <a:lnTo>
                  <a:pt x="2205" y="867"/>
                </a:lnTo>
                <a:lnTo>
                  <a:pt x="2176" y="873"/>
                </a:lnTo>
                <a:lnTo>
                  <a:pt x="2148" y="878"/>
                </a:lnTo>
                <a:lnTo>
                  <a:pt x="2118" y="883"/>
                </a:lnTo>
                <a:lnTo>
                  <a:pt x="2133" y="873"/>
                </a:lnTo>
                <a:lnTo>
                  <a:pt x="2148" y="863"/>
                </a:lnTo>
                <a:lnTo>
                  <a:pt x="2162" y="853"/>
                </a:lnTo>
                <a:lnTo>
                  <a:pt x="2175" y="842"/>
                </a:lnTo>
                <a:lnTo>
                  <a:pt x="2188" y="830"/>
                </a:lnTo>
                <a:lnTo>
                  <a:pt x="2200" y="818"/>
                </a:lnTo>
                <a:lnTo>
                  <a:pt x="2211" y="805"/>
                </a:lnTo>
                <a:lnTo>
                  <a:pt x="2222" y="792"/>
                </a:lnTo>
                <a:lnTo>
                  <a:pt x="2232" y="778"/>
                </a:lnTo>
                <a:lnTo>
                  <a:pt x="2242" y="764"/>
                </a:lnTo>
                <a:lnTo>
                  <a:pt x="2252" y="749"/>
                </a:lnTo>
                <a:lnTo>
                  <a:pt x="2261" y="735"/>
                </a:lnTo>
                <a:lnTo>
                  <a:pt x="2268" y="719"/>
                </a:lnTo>
                <a:lnTo>
                  <a:pt x="2275" y="702"/>
                </a:lnTo>
                <a:lnTo>
                  <a:pt x="2282" y="686"/>
                </a:lnTo>
                <a:lnTo>
                  <a:pt x="2288" y="670"/>
                </a:lnTo>
                <a:lnTo>
                  <a:pt x="2259" y="686"/>
                </a:lnTo>
                <a:lnTo>
                  <a:pt x="2231" y="701"/>
                </a:lnTo>
                <a:lnTo>
                  <a:pt x="2201" y="715"/>
                </a:lnTo>
                <a:lnTo>
                  <a:pt x="2170" y="727"/>
                </a:lnTo>
                <a:lnTo>
                  <a:pt x="2155" y="732"/>
                </a:lnTo>
                <a:lnTo>
                  <a:pt x="2139" y="738"/>
                </a:lnTo>
                <a:lnTo>
                  <a:pt x="2108" y="748"/>
                </a:lnTo>
                <a:lnTo>
                  <a:pt x="2092" y="752"/>
                </a:lnTo>
                <a:lnTo>
                  <a:pt x="2076" y="756"/>
                </a:lnTo>
                <a:lnTo>
                  <a:pt x="2044" y="763"/>
                </a:lnTo>
                <a:lnTo>
                  <a:pt x="2030" y="749"/>
                </a:lnTo>
                <a:lnTo>
                  <a:pt x="2016" y="737"/>
                </a:lnTo>
                <a:lnTo>
                  <a:pt x="2001" y="725"/>
                </a:lnTo>
                <a:lnTo>
                  <a:pt x="1986" y="712"/>
                </a:lnTo>
                <a:lnTo>
                  <a:pt x="1970" y="702"/>
                </a:lnTo>
                <a:lnTo>
                  <a:pt x="1954" y="693"/>
                </a:lnTo>
                <a:lnTo>
                  <a:pt x="1936" y="683"/>
                </a:lnTo>
                <a:lnTo>
                  <a:pt x="1919" y="674"/>
                </a:lnTo>
                <a:lnTo>
                  <a:pt x="1900" y="667"/>
                </a:lnTo>
                <a:lnTo>
                  <a:pt x="1882" y="660"/>
                </a:lnTo>
                <a:lnTo>
                  <a:pt x="1863" y="655"/>
                </a:lnTo>
                <a:lnTo>
                  <a:pt x="1844" y="650"/>
                </a:lnTo>
                <a:lnTo>
                  <a:pt x="1824" y="647"/>
                </a:lnTo>
                <a:lnTo>
                  <a:pt x="1804" y="644"/>
                </a:lnTo>
                <a:lnTo>
                  <a:pt x="1784" y="643"/>
                </a:lnTo>
                <a:lnTo>
                  <a:pt x="1763" y="642"/>
                </a:lnTo>
                <a:lnTo>
                  <a:pt x="1743" y="642"/>
                </a:lnTo>
                <a:lnTo>
                  <a:pt x="1724" y="644"/>
                </a:lnTo>
                <a:lnTo>
                  <a:pt x="1705" y="647"/>
                </a:lnTo>
                <a:lnTo>
                  <a:pt x="1685" y="649"/>
                </a:lnTo>
                <a:lnTo>
                  <a:pt x="1667" y="654"/>
                </a:lnTo>
                <a:lnTo>
                  <a:pt x="1649" y="659"/>
                </a:lnTo>
                <a:lnTo>
                  <a:pt x="1631" y="665"/>
                </a:lnTo>
                <a:lnTo>
                  <a:pt x="1613" y="672"/>
                </a:lnTo>
                <a:lnTo>
                  <a:pt x="1596" y="680"/>
                </a:lnTo>
                <a:lnTo>
                  <a:pt x="1580" y="689"/>
                </a:lnTo>
                <a:lnTo>
                  <a:pt x="1564" y="698"/>
                </a:lnTo>
                <a:lnTo>
                  <a:pt x="1548" y="707"/>
                </a:lnTo>
                <a:lnTo>
                  <a:pt x="1533" y="719"/>
                </a:lnTo>
                <a:lnTo>
                  <a:pt x="1518" y="730"/>
                </a:lnTo>
                <a:lnTo>
                  <a:pt x="1505" y="742"/>
                </a:lnTo>
                <a:lnTo>
                  <a:pt x="1491" y="754"/>
                </a:lnTo>
                <a:lnTo>
                  <a:pt x="1479" y="768"/>
                </a:lnTo>
                <a:lnTo>
                  <a:pt x="1466" y="782"/>
                </a:lnTo>
                <a:lnTo>
                  <a:pt x="1455" y="796"/>
                </a:lnTo>
                <a:lnTo>
                  <a:pt x="1444" y="811"/>
                </a:lnTo>
                <a:lnTo>
                  <a:pt x="1434" y="827"/>
                </a:lnTo>
                <a:lnTo>
                  <a:pt x="1425" y="844"/>
                </a:lnTo>
                <a:lnTo>
                  <a:pt x="1420" y="851"/>
                </a:lnTo>
                <a:lnTo>
                  <a:pt x="1417" y="860"/>
                </a:lnTo>
                <a:lnTo>
                  <a:pt x="1409" y="877"/>
                </a:lnTo>
                <a:lnTo>
                  <a:pt x="1402" y="894"/>
                </a:lnTo>
                <a:lnTo>
                  <a:pt x="1396" y="912"/>
                </a:lnTo>
                <a:lnTo>
                  <a:pt x="1391" y="930"/>
                </a:lnTo>
                <a:lnTo>
                  <a:pt x="1387" y="949"/>
                </a:lnTo>
                <a:lnTo>
                  <a:pt x="1383" y="967"/>
                </a:lnTo>
                <a:lnTo>
                  <a:pt x="1381" y="987"/>
                </a:lnTo>
                <a:lnTo>
                  <a:pt x="1380" y="1007"/>
                </a:lnTo>
                <a:lnTo>
                  <a:pt x="1378" y="1027"/>
                </a:lnTo>
                <a:lnTo>
                  <a:pt x="1380" y="1049"/>
                </a:lnTo>
                <a:lnTo>
                  <a:pt x="1381" y="1060"/>
                </a:lnTo>
                <a:lnTo>
                  <a:pt x="1381" y="1071"/>
                </a:lnTo>
                <a:lnTo>
                  <a:pt x="1385" y="1092"/>
                </a:lnTo>
                <a:lnTo>
                  <a:pt x="1388" y="1113"/>
                </a:lnTo>
                <a:lnTo>
                  <a:pt x="1359" y="1112"/>
                </a:lnTo>
                <a:lnTo>
                  <a:pt x="1329" y="1110"/>
                </a:lnTo>
                <a:lnTo>
                  <a:pt x="1300" y="1106"/>
                </a:lnTo>
                <a:lnTo>
                  <a:pt x="1271" y="1101"/>
                </a:lnTo>
                <a:lnTo>
                  <a:pt x="1242" y="1096"/>
                </a:lnTo>
                <a:lnTo>
                  <a:pt x="1214" y="1091"/>
                </a:lnTo>
                <a:lnTo>
                  <a:pt x="1185" y="1085"/>
                </a:lnTo>
                <a:lnTo>
                  <a:pt x="1157" y="1077"/>
                </a:lnTo>
                <a:lnTo>
                  <a:pt x="1130" y="1069"/>
                </a:lnTo>
                <a:lnTo>
                  <a:pt x="1101" y="1060"/>
                </a:lnTo>
                <a:lnTo>
                  <a:pt x="1075" y="1051"/>
                </a:lnTo>
                <a:lnTo>
                  <a:pt x="1048" y="1041"/>
                </a:lnTo>
                <a:lnTo>
                  <a:pt x="1021" y="1030"/>
                </a:lnTo>
                <a:lnTo>
                  <a:pt x="995" y="1019"/>
                </a:lnTo>
                <a:lnTo>
                  <a:pt x="970" y="1007"/>
                </a:lnTo>
                <a:lnTo>
                  <a:pt x="944" y="994"/>
                </a:lnTo>
                <a:lnTo>
                  <a:pt x="919" y="981"/>
                </a:lnTo>
                <a:lnTo>
                  <a:pt x="895" y="967"/>
                </a:lnTo>
                <a:lnTo>
                  <a:pt x="870" y="952"/>
                </a:lnTo>
                <a:lnTo>
                  <a:pt x="846" y="938"/>
                </a:lnTo>
                <a:lnTo>
                  <a:pt x="823" y="921"/>
                </a:lnTo>
                <a:lnTo>
                  <a:pt x="801" y="905"/>
                </a:lnTo>
                <a:lnTo>
                  <a:pt x="777" y="888"/>
                </a:lnTo>
                <a:lnTo>
                  <a:pt x="756" y="871"/>
                </a:lnTo>
                <a:lnTo>
                  <a:pt x="734" y="853"/>
                </a:lnTo>
                <a:lnTo>
                  <a:pt x="713" y="835"/>
                </a:lnTo>
                <a:lnTo>
                  <a:pt x="692" y="815"/>
                </a:lnTo>
                <a:lnTo>
                  <a:pt x="672" y="795"/>
                </a:lnTo>
                <a:lnTo>
                  <a:pt x="652" y="775"/>
                </a:lnTo>
                <a:lnTo>
                  <a:pt x="634" y="754"/>
                </a:lnTo>
                <a:lnTo>
                  <a:pt x="615" y="733"/>
                </a:lnTo>
                <a:lnTo>
                  <a:pt x="596" y="712"/>
                </a:lnTo>
                <a:lnTo>
                  <a:pt x="585" y="735"/>
                </a:lnTo>
                <a:lnTo>
                  <a:pt x="580" y="746"/>
                </a:lnTo>
                <a:lnTo>
                  <a:pt x="574" y="757"/>
                </a:lnTo>
                <a:lnTo>
                  <a:pt x="565" y="780"/>
                </a:lnTo>
                <a:lnTo>
                  <a:pt x="562" y="792"/>
                </a:lnTo>
                <a:lnTo>
                  <a:pt x="558" y="804"/>
                </a:lnTo>
                <a:lnTo>
                  <a:pt x="556" y="816"/>
                </a:lnTo>
                <a:lnTo>
                  <a:pt x="553" y="829"/>
                </a:lnTo>
                <a:lnTo>
                  <a:pt x="548" y="853"/>
                </a:lnTo>
                <a:lnTo>
                  <a:pt x="547" y="866"/>
                </a:lnTo>
                <a:lnTo>
                  <a:pt x="546" y="879"/>
                </a:lnTo>
                <a:lnTo>
                  <a:pt x="544" y="892"/>
                </a:lnTo>
                <a:lnTo>
                  <a:pt x="544" y="905"/>
                </a:lnTo>
                <a:lnTo>
                  <a:pt x="544" y="918"/>
                </a:lnTo>
                <a:lnTo>
                  <a:pt x="546" y="930"/>
                </a:lnTo>
                <a:lnTo>
                  <a:pt x="547" y="942"/>
                </a:lnTo>
                <a:lnTo>
                  <a:pt x="548" y="955"/>
                </a:lnTo>
                <a:lnTo>
                  <a:pt x="549" y="967"/>
                </a:lnTo>
                <a:lnTo>
                  <a:pt x="552" y="978"/>
                </a:lnTo>
                <a:lnTo>
                  <a:pt x="557" y="1002"/>
                </a:lnTo>
                <a:lnTo>
                  <a:pt x="561" y="1013"/>
                </a:lnTo>
                <a:lnTo>
                  <a:pt x="564" y="1025"/>
                </a:lnTo>
                <a:lnTo>
                  <a:pt x="572" y="1048"/>
                </a:lnTo>
                <a:lnTo>
                  <a:pt x="577" y="1058"/>
                </a:lnTo>
                <a:lnTo>
                  <a:pt x="582" y="1069"/>
                </a:lnTo>
                <a:lnTo>
                  <a:pt x="591" y="1090"/>
                </a:lnTo>
                <a:lnTo>
                  <a:pt x="604" y="1110"/>
                </a:lnTo>
                <a:lnTo>
                  <a:pt x="610" y="1119"/>
                </a:lnTo>
                <a:lnTo>
                  <a:pt x="616" y="1129"/>
                </a:lnTo>
                <a:lnTo>
                  <a:pt x="630" y="1148"/>
                </a:lnTo>
                <a:lnTo>
                  <a:pt x="646" y="1165"/>
                </a:lnTo>
                <a:lnTo>
                  <a:pt x="662" y="1181"/>
                </a:lnTo>
                <a:lnTo>
                  <a:pt x="679" y="1197"/>
                </a:lnTo>
                <a:lnTo>
                  <a:pt x="697" y="1212"/>
                </a:lnTo>
                <a:lnTo>
                  <a:pt x="715" y="1226"/>
                </a:lnTo>
                <a:lnTo>
                  <a:pt x="704" y="1225"/>
                </a:lnTo>
                <a:lnTo>
                  <a:pt x="692" y="1223"/>
                </a:lnTo>
                <a:lnTo>
                  <a:pt x="669" y="1221"/>
                </a:lnTo>
                <a:lnTo>
                  <a:pt x="658" y="1220"/>
                </a:lnTo>
                <a:lnTo>
                  <a:pt x="647" y="1217"/>
                </a:lnTo>
                <a:lnTo>
                  <a:pt x="625" y="1211"/>
                </a:lnTo>
                <a:lnTo>
                  <a:pt x="603" y="1205"/>
                </a:lnTo>
                <a:lnTo>
                  <a:pt x="582" y="1196"/>
                </a:lnTo>
                <a:lnTo>
                  <a:pt x="562" y="1187"/>
                </a:lnTo>
                <a:lnTo>
                  <a:pt x="552" y="1183"/>
                </a:lnTo>
                <a:lnTo>
                  <a:pt x="542" y="1178"/>
                </a:lnTo>
                <a:lnTo>
                  <a:pt x="542" y="1183"/>
                </a:lnTo>
                <a:lnTo>
                  <a:pt x="542" y="1200"/>
                </a:lnTo>
                <a:lnTo>
                  <a:pt x="543" y="1217"/>
                </a:lnTo>
                <a:lnTo>
                  <a:pt x="544" y="1233"/>
                </a:lnTo>
                <a:lnTo>
                  <a:pt x="548" y="1251"/>
                </a:lnTo>
                <a:lnTo>
                  <a:pt x="551" y="1267"/>
                </a:lnTo>
                <a:lnTo>
                  <a:pt x="556" y="1283"/>
                </a:lnTo>
                <a:lnTo>
                  <a:pt x="559" y="1299"/>
                </a:lnTo>
                <a:lnTo>
                  <a:pt x="565" y="1315"/>
                </a:lnTo>
                <a:lnTo>
                  <a:pt x="572" y="1330"/>
                </a:lnTo>
                <a:lnTo>
                  <a:pt x="578" y="1345"/>
                </a:lnTo>
                <a:lnTo>
                  <a:pt x="585" y="1359"/>
                </a:lnTo>
                <a:lnTo>
                  <a:pt x="593" y="1374"/>
                </a:lnTo>
                <a:lnTo>
                  <a:pt x="601" y="1388"/>
                </a:lnTo>
                <a:lnTo>
                  <a:pt x="610" y="1402"/>
                </a:lnTo>
                <a:lnTo>
                  <a:pt x="620" y="1414"/>
                </a:lnTo>
                <a:lnTo>
                  <a:pt x="625" y="1421"/>
                </a:lnTo>
                <a:lnTo>
                  <a:pt x="630" y="1428"/>
                </a:lnTo>
                <a:lnTo>
                  <a:pt x="641" y="1440"/>
                </a:lnTo>
                <a:lnTo>
                  <a:pt x="652" y="1451"/>
                </a:lnTo>
                <a:lnTo>
                  <a:pt x="663" y="1462"/>
                </a:lnTo>
                <a:lnTo>
                  <a:pt x="676" y="1473"/>
                </a:lnTo>
                <a:lnTo>
                  <a:pt x="688" y="1483"/>
                </a:lnTo>
                <a:lnTo>
                  <a:pt x="700" y="1493"/>
                </a:lnTo>
                <a:lnTo>
                  <a:pt x="714" y="1503"/>
                </a:lnTo>
                <a:lnTo>
                  <a:pt x="728" y="1512"/>
                </a:lnTo>
                <a:lnTo>
                  <a:pt x="741" y="1519"/>
                </a:lnTo>
                <a:lnTo>
                  <a:pt x="756" y="1526"/>
                </a:lnTo>
                <a:lnTo>
                  <a:pt x="771" y="1534"/>
                </a:lnTo>
                <a:lnTo>
                  <a:pt x="786" y="1540"/>
                </a:lnTo>
                <a:lnTo>
                  <a:pt x="802" y="1546"/>
                </a:lnTo>
                <a:lnTo>
                  <a:pt x="818" y="1551"/>
                </a:lnTo>
                <a:lnTo>
                  <a:pt x="834" y="1555"/>
                </a:lnTo>
                <a:lnTo>
                  <a:pt x="850" y="1559"/>
                </a:lnTo>
                <a:lnTo>
                  <a:pt x="825" y="1565"/>
                </a:lnTo>
                <a:lnTo>
                  <a:pt x="801" y="1569"/>
                </a:lnTo>
                <a:lnTo>
                  <a:pt x="787" y="1570"/>
                </a:lnTo>
                <a:lnTo>
                  <a:pt x="775" y="1571"/>
                </a:lnTo>
                <a:lnTo>
                  <a:pt x="749" y="1572"/>
                </a:lnTo>
                <a:lnTo>
                  <a:pt x="730" y="1572"/>
                </a:lnTo>
                <a:lnTo>
                  <a:pt x="711" y="1571"/>
                </a:lnTo>
                <a:lnTo>
                  <a:pt x="694" y="1569"/>
                </a:lnTo>
                <a:lnTo>
                  <a:pt x="677" y="1565"/>
                </a:lnTo>
                <a:lnTo>
                  <a:pt x="682" y="1580"/>
                </a:lnTo>
                <a:lnTo>
                  <a:pt x="687" y="1593"/>
                </a:lnTo>
                <a:lnTo>
                  <a:pt x="693" y="1607"/>
                </a:lnTo>
                <a:lnTo>
                  <a:pt x="699" y="1621"/>
                </a:lnTo>
                <a:lnTo>
                  <a:pt x="705" y="1634"/>
                </a:lnTo>
                <a:lnTo>
                  <a:pt x="713" y="1647"/>
                </a:lnTo>
                <a:lnTo>
                  <a:pt x="721" y="1659"/>
                </a:lnTo>
                <a:lnTo>
                  <a:pt x="730" y="1671"/>
                </a:lnTo>
                <a:lnTo>
                  <a:pt x="739" y="1682"/>
                </a:lnTo>
                <a:lnTo>
                  <a:pt x="747" y="1695"/>
                </a:lnTo>
                <a:lnTo>
                  <a:pt x="757" y="1706"/>
                </a:lnTo>
                <a:lnTo>
                  <a:pt x="767" y="1716"/>
                </a:lnTo>
                <a:lnTo>
                  <a:pt x="777" y="1727"/>
                </a:lnTo>
                <a:lnTo>
                  <a:pt x="788" y="1737"/>
                </a:lnTo>
                <a:lnTo>
                  <a:pt x="799" y="1745"/>
                </a:lnTo>
                <a:lnTo>
                  <a:pt x="812" y="1755"/>
                </a:lnTo>
                <a:lnTo>
                  <a:pt x="823" y="1764"/>
                </a:lnTo>
                <a:lnTo>
                  <a:pt x="835" y="1771"/>
                </a:lnTo>
                <a:lnTo>
                  <a:pt x="848" y="1779"/>
                </a:lnTo>
                <a:lnTo>
                  <a:pt x="861" y="1786"/>
                </a:lnTo>
                <a:lnTo>
                  <a:pt x="874" y="1794"/>
                </a:lnTo>
                <a:lnTo>
                  <a:pt x="887" y="1800"/>
                </a:lnTo>
                <a:lnTo>
                  <a:pt x="901" y="1806"/>
                </a:lnTo>
                <a:lnTo>
                  <a:pt x="916" y="1811"/>
                </a:lnTo>
                <a:lnTo>
                  <a:pt x="929" y="1816"/>
                </a:lnTo>
                <a:lnTo>
                  <a:pt x="944" y="1820"/>
                </a:lnTo>
                <a:lnTo>
                  <a:pt x="974" y="1826"/>
                </a:lnTo>
                <a:lnTo>
                  <a:pt x="989" y="1828"/>
                </a:lnTo>
                <a:lnTo>
                  <a:pt x="1005" y="1831"/>
                </a:lnTo>
                <a:lnTo>
                  <a:pt x="1020" y="1832"/>
                </a:lnTo>
                <a:lnTo>
                  <a:pt x="1036" y="1832"/>
                </a:lnTo>
                <a:lnTo>
                  <a:pt x="1011" y="1851"/>
                </a:lnTo>
                <a:lnTo>
                  <a:pt x="997" y="1861"/>
                </a:lnTo>
                <a:lnTo>
                  <a:pt x="985" y="1869"/>
                </a:lnTo>
                <a:lnTo>
                  <a:pt x="971" y="1878"/>
                </a:lnTo>
                <a:lnTo>
                  <a:pt x="958" y="1885"/>
                </a:lnTo>
                <a:lnTo>
                  <a:pt x="930" y="1901"/>
                </a:lnTo>
                <a:lnTo>
                  <a:pt x="903" y="1916"/>
                </a:lnTo>
                <a:lnTo>
                  <a:pt x="874" y="1930"/>
                </a:lnTo>
                <a:lnTo>
                  <a:pt x="845" y="1942"/>
                </a:lnTo>
                <a:lnTo>
                  <a:pt x="815" y="1953"/>
                </a:lnTo>
                <a:lnTo>
                  <a:pt x="784" y="1963"/>
                </a:lnTo>
                <a:lnTo>
                  <a:pt x="770" y="1968"/>
                </a:lnTo>
                <a:lnTo>
                  <a:pt x="754" y="1972"/>
                </a:lnTo>
                <a:lnTo>
                  <a:pt x="723" y="1979"/>
                </a:lnTo>
                <a:lnTo>
                  <a:pt x="690" y="1986"/>
                </a:lnTo>
                <a:lnTo>
                  <a:pt x="658" y="1990"/>
                </a:lnTo>
                <a:lnTo>
                  <a:pt x="641" y="1993"/>
                </a:lnTo>
                <a:lnTo>
                  <a:pt x="625" y="1994"/>
                </a:lnTo>
                <a:lnTo>
                  <a:pt x="591" y="1997"/>
                </a:lnTo>
                <a:lnTo>
                  <a:pt x="575" y="1997"/>
                </a:lnTo>
                <a:lnTo>
                  <a:pt x="558" y="1997"/>
                </a:lnTo>
                <a:lnTo>
                  <a:pt x="535" y="1997"/>
                </a:lnTo>
                <a:lnTo>
                  <a:pt x="512" y="1995"/>
                </a:lnTo>
                <a:lnTo>
                  <a:pt x="489" y="1994"/>
                </a:lnTo>
                <a:lnTo>
                  <a:pt x="466" y="1992"/>
                </a:lnTo>
                <a:lnTo>
                  <a:pt x="499" y="2012"/>
                </a:lnTo>
                <a:lnTo>
                  <a:pt x="532" y="2030"/>
                </a:lnTo>
                <a:lnTo>
                  <a:pt x="548" y="2039"/>
                </a:lnTo>
                <a:lnTo>
                  <a:pt x="565" y="2047"/>
                </a:lnTo>
                <a:lnTo>
                  <a:pt x="600" y="2065"/>
                </a:lnTo>
                <a:lnTo>
                  <a:pt x="635" y="2080"/>
                </a:lnTo>
                <a:lnTo>
                  <a:pt x="671" y="2094"/>
                </a:lnTo>
                <a:lnTo>
                  <a:pt x="707" y="2107"/>
                </a:lnTo>
                <a:lnTo>
                  <a:pt x="744" y="2119"/>
                </a:lnTo>
                <a:lnTo>
                  <a:pt x="781" y="2129"/>
                </a:lnTo>
                <a:lnTo>
                  <a:pt x="819" y="2138"/>
                </a:lnTo>
                <a:lnTo>
                  <a:pt x="838" y="2143"/>
                </a:lnTo>
                <a:lnTo>
                  <a:pt x="857" y="2146"/>
                </a:lnTo>
                <a:lnTo>
                  <a:pt x="876" y="2149"/>
                </a:lnTo>
                <a:lnTo>
                  <a:pt x="896" y="2153"/>
                </a:lnTo>
                <a:lnTo>
                  <a:pt x="916" y="2155"/>
                </a:lnTo>
                <a:lnTo>
                  <a:pt x="935" y="2158"/>
                </a:lnTo>
                <a:lnTo>
                  <a:pt x="975" y="2161"/>
                </a:lnTo>
                <a:lnTo>
                  <a:pt x="995" y="2162"/>
                </a:lnTo>
                <a:lnTo>
                  <a:pt x="1015" y="2164"/>
                </a:lnTo>
                <a:lnTo>
                  <a:pt x="1036" y="2164"/>
                </a:lnTo>
                <a:lnTo>
                  <a:pt x="1055" y="2164"/>
                </a:lnTo>
                <a:close/>
                <a:moveTo>
                  <a:pt x="0" y="0"/>
                </a:moveTo>
                <a:lnTo>
                  <a:pt x="702" y="0"/>
                </a:lnTo>
                <a:lnTo>
                  <a:pt x="1403" y="0"/>
                </a:lnTo>
                <a:lnTo>
                  <a:pt x="2105" y="0"/>
                </a:lnTo>
                <a:lnTo>
                  <a:pt x="2806" y="0"/>
                </a:lnTo>
                <a:lnTo>
                  <a:pt x="2806" y="701"/>
                </a:lnTo>
                <a:lnTo>
                  <a:pt x="2806" y="1403"/>
                </a:lnTo>
                <a:lnTo>
                  <a:pt x="2806" y="2104"/>
                </a:lnTo>
                <a:lnTo>
                  <a:pt x="2806" y="2806"/>
                </a:lnTo>
                <a:lnTo>
                  <a:pt x="2105" y="2806"/>
                </a:lnTo>
                <a:lnTo>
                  <a:pt x="1403" y="2806"/>
                </a:lnTo>
                <a:lnTo>
                  <a:pt x="702" y="2806"/>
                </a:lnTo>
                <a:lnTo>
                  <a:pt x="0" y="2806"/>
                </a:lnTo>
                <a:lnTo>
                  <a:pt x="0" y="2104"/>
                </a:lnTo>
                <a:lnTo>
                  <a:pt x="0" y="1403"/>
                </a:lnTo>
                <a:lnTo>
                  <a:pt x="0" y="701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0201" tIns="40100" rIns="80201" bIns="40100" numCol="1" anchor="t" anchorCtr="0" compatLnSpc="1">
            <a:prstTxWarp prst="textNoShape">
              <a:avLst/>
            </a:prstTxWarp>
          </a:bodyPr>
          <a:lstStyle/>
          <a:p>
            <a:endParaRPr lang="en-GB" sz="1579"/>
          </a:p>
        </p:txBody>
      </p:sp>
      <p:sp>
        <p:nvSpPr>
          <p:cNvPr id="8" name="Freeform 8">
            <a:hlinkClick r:id="rId3" tooltip="Facebook"/>
          </p:cNvPr>
          <p:cNvSpPr>
            <a:spLocks noChangeAspect="1" noEditPoints="1"/>
          </p:cNvSpPr>
          <p:nvPr/>
        </p:nvSpPr>
        <p:spPr bwMode="auto">
          <a:xfrm>
            <a:off x="4588387" y="684481"/>
            <a:ext cx="253051" cy="317600"/>
          </a:xfrm>
          <a:custGeom>
            <a:avLst/>
            <a:gdLst>
              <a:gd name="T0" fmla="*/ 1541 w 2807"/>
              <a:gd name="T1" fmla="*/ 2287 h 2806"/>
              <a:gd name="T2" fmla="*/ 1541 w 2807"/>
              <a:gd name="T3" fmla="*/ 1481 h 2806"/>
              <a:gd name="T4" fmla="*/ 1812 w 2807"/>
              <a:gd name="T5" fmla="*/ 1481 h 2806"/>
              <a:gd name="T6" fmla="*/ 1853 w 2807"/>
              <a:gd name="T7" fmla="*/ 1166 h 2806"/>
              <a:gd name="T8" fmla="*/ 1541 w 2807"/>
              <a:gd name="T9" fmla="*/ 1166 h 2806"/>
              <a:gd name="T10" fmla="*/ 1541 w 2807"/>
              <a:gd name="T11" fmla="*/ 965 h 2806"/>
              <a:gd name="T12" fmla="*/ 1542 w 2807"/>
              <a:gd name="T13" fmla="*/ 933 h 2806"/>
              <a:gd name="T14" fmla="*/ 1547 w 2807"/>
              <a:gd name="T15" fmla="*/ 903 h 2806"/>
              <a:gd name="T16" fmla="*/ 1556 w 2807"/>
              <a:gd name="T17" fmla="*/ 877 h 2806"/>
              <a:gd name="T18" fmla="*/ 1569 w 2807"/>
              <a:gd name="T19" fmla="*/ 855 h 2806"/>
              <a:gd name="T20" fmla="*/ 1590 w 2807"/>
              <a:gd name="T21" fmla="*/ 837 h 2806"/>
              <a:gd name="T22" fmla="*/ 1618 w 2807"/>
              <a:gd name="T23" fmla="*/ 824 h 2806"/>
              <a:gd name="T24" fmla="*/ 1652 w 2807"/>
              <a:gd name="T25" fmla="*/ 815 h 2806"/>
              <a:gd name="T26" fmla="*/ 1673 w 2807"/>
              <a:gd name="T27" fmla="*/ 813 h 2806"/>
              <a:gd name="T28" fmla="*/ 1697 w 2807"/>
              <a:gd name="T29" fmla="*/ 813 h 2806"/>
              <a:gd name="T30" fmla="*/ 1862 w 2807"/>
              <a:gd name="T31" fmla="*/ 813 h 2806"/>
              <a:gd name="T32" fmla="*/ 1862 w 2807"/>
              <a:gd name="T33" fmla="*/ 530 h 2806"/>
              <a:gd name="T34" fmla="*/ 1773 w 2807"/>
              <a:gd name="T35" fmla="*/ 523 h 2806"/>
              <a:gd name="T36" fmla="*/ 1703 w 2807"/>
              <a:gd name="T37" fmla="*/ 521 h 2806"/>
              <a:gd name="T38" fmla="*/ 1620 w 2807"/>
              <a:gd name="T39" fmla="*/ 518 h 2806"/>
              <a:gd name="T40" fmla="*/ 1577 w 2807"/>
              <a:gd name="T41" fmla="*/ 521 h 2806"/>
              <a:gd name="T42" fmla="*/ 1535 w 2807"/>
              <a:gd name="T43" fmla="*/ 526 h 2806"/>
              <a:gd name="T44" fmla="*/ 1494 w 2807"/>
              <a:gd name="T45" fmla="*/ 534 h 2806"/>
              <a:gd name="T46" fmla="*/ 1455 w 2807"/>
              <a:gd name="T47" fmla="*/ 545 h 2806"/>
              <a:gd name="T48" fmla="*/ 1420 w 2807"/>
              <a:gd name="T49" fmla="*/ 560 h 2806"/>
              <a:gd name="T50" fmla="*/ 1387 w 2807"/>
              <a:gd name="T51" fmla="*/ 579 h 2806"/>
              <a:gd name="T52" fmla="*/ 1356 w 2807"/>
              <a:gd name="T53" fmla="*/ 601 h 2806"/>
              <a:gd name="T54" fmla="*/ 1328 w 2807"/>
              <a:gd name="T55" fmla="*/ 626 h 2806"/>
              <a:gd name="T56" fmla="*/ 1303 w 2807"/>
              <a:gd name="T57" fmla="*/ 653 h 2806"/>
              <a:gd name="T58" fmla="*/ 1281 w 2807"/>
              <a:gd name="T59" fmla="*/ 684 h 2806"/>
              <a:gd name="T60" fmla="*/ 1261 w 2807"/>
              <a:gd name="T61" fmla="*/ 719 h 2806"/>
              <a:gd name="T62" fmla="*/ 1245 w 2807"/>
              <a:gd name="T63" fmla="*/ 756 h 2806"/>
              <a:gd name="T64" fmla="*/ 1233 w 2807"/>
              <a:gd name="T65" fmla="*/ 796 h 2806"/>
              <a:gd name="T66" fmla="*/ 1224 w 2807"/>
              <a:gd name="T67" fmla="*/ 839 h 2806"/>
              <a:gd name="T68" fmla="*/ 1218 w 2807"/>
              <a:gd name="T69" fmla="*/ 886 h 2806"/>
              <a:gd name="T70" fmla="*/ 1215 w 2807"/>
              <a:gd name="T71" fmla="*/ 934 h 2806"/>
              <a:gd name="T72" fmla="*/ 1215 w 2807"/>
              <a:gd name="T73" fmla="*/ 1166 h 2806"/>
              <a:gd name="T74" fmla="*/ 944 w 2807"/>
              <a:gd name="T75" fmla="*/ 1166 h 2806"/>
              <a:gd name="T76" fmla="*/ 944 w 2807"/>
              <a:gd name="T77" fmla="*/ 1481 h 2806"/>
              <a:gd name="T78" fmla="*/ 1215 w 2807"/>
              <a:gd name="T79" fmla="*/ 1481 h 2806"/>
              <a:gd name="T80" fmla="*/ 1215 w 2807"/>
              <a:gd name="T81" fmla="*/ 2287 h 2806"/>
              <a:gd name="T82" fmla="*/ 1541 w 2807"/>
              <a:gd name="T83" fmla="*/ 2287 h 2806"/>
              <a:gd name="T84" fmla="*/ 0 w 2807"/>
              <a:gd name="T85" fmla="*/ 0 h 2806"/>
              <a:gd name="T86" fmla="*/ 702 w 2807"/>
              <a:gd name="T87" fmla="*/ 0 h 2806"/>
              <a:gd name="T88" fmla="*/ 1403 w 2807"/>
              <a:gd name="T89" fmla="*/ 0 h 2806"/>
              <a:gd name="T90" fmla="*/ 2105 w 2807"/>
              <a:gd name="T91" fmla="*/ 0 h 2806"/>
              <a:gd name="T92" fmla="*/ 2807 w 2807"/>
              <a:gd name="T93" fmla="*/ 0 h 2806"/>
              <a:gd name="T94" fmla="*/ 2807 w 2807"/>
              <a:gd name="T95" fmla="*/ 701 h 2806"/>
              <a:gd name="T96" fmla="*/ 2807 w 2807"/>
              <a:gd name="T97" fmla="*/ 1403 h 2806"/>
              <a:gd name="T98" fmla="*/ 2807 w 2807"/>
              <a:gd name="T99" fmla="*/ 2104 h 2806"/>
              <a:gd name="T100" fmla="*/ 2807 w 2807"/>
              <a:gd name="T101" fmla="*/ 2806 h 2806"/>
              <a:gd name="T102" fmla="*/ 2105 w 2807"/>
              <a:gd name="T103" fmla="*/ 2806 h 2806"/>
              <a:gd name="T104" fmla="*/ 1403 w 2807"/>
              <a:gd name="T105" fmla="*/ 2806 h 2806"/>
              <a:gd name="T106" fmla="*/ 702 w 2807"/>
              <a:gd name="T107" fmla="*/ 2806 h 2806"/>
              <a:gd name="T108" fmla="*/ 0 w 2807"/>
              <a:gd name="T109" fmla="*/ 2806 h 2806"/>
              <a:gd name="T110" fmla="*/ 0 w 2807"/>
              <a:gd name="T111" fmla="*/ 2104 h 2806"/>
              <a:gd name="T112" fmla="*/ 0 w 2807"/>
              <a:gd name="T113" fmla="*/ 1403 h 2806"/>
              <a:gd name="T114" fmla="*/ 0 w 2807"/>
              <a:gd name="T115" fmla="*/ 701 h 2806"/>
              <a:gd name="T116" fmla="*/ 0 w 2807"/>
              <a:gd name="T117" fmla="*/ 0 h 28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807" h="2806">
                <a:moveTo>
                  <a:pt x="1541" y="2287"/>
                </a:moveTo>
                <a:lnTo>
                  <a:pt x="1541" y="1481"/>
                </a:lnTo>
                <a:lnTo>
                  <a:pt x="1812" y="1481"/>
                </a:lnTo>
                <a:lnTo>
                  <a:pt x="1853" y="1166"/>
                </a:lnTo>
                <a:lnTo>
                  <a:pt x="1541" y="1166"/>
                </a:lnTo>
                <a:lnTo>
                  <a:pt x="1541" y="965"/>
                </a:lnTo>
                <a:lnTo>
                  <a:pt x="1542" y="933"/>
                </a:lnTo>
                <a:lnTo>
                  <a:pt x="1547" y="903"/>
                </a:lnTo>
                <a:lnTo>
                  <a:pt x="1556" y="877"/>
                </a:lnTo>
                <a:lnTo>
                  <a:pt x="1569" y="855"/>
                </a:lnTo>
                <a:lnTo>
                  <a:pt x="1590" y="837"/>
                </a:lnTo>
                <a:lnTo>
                  <a:pt x="1618" y="824"/>
                </a:lnTo>
                <a:lnTo>
                  <a:pt x="1652" y="815"/>
                </a:lnTo>
                <a:lnTo>
                  <a:pt x="1673" y="813"/>
                </a:lnTo>
                <a:lnTo>
                  <a:pt x="1697" y="813"/>
                </a:lnTo>
                <a:lnTo>
                  <a:pt x="1862" y="813"/>
                </a:lnTo>
                <a:lnTo>
                  <a:pt x="1862" y="530"/>
                </a:lnTo>
                <a:lnTo>
                  <a:pt x="1773" y="523"/>
                </a:lnTo>
                <a:lnTo>
                  <a:pt x="1703" y="521"/>
                </a:lnTo>
                <a:lnTo>
                  <a:pt x="1620" y="518"/>
                </a:lnTo>
                <a:lnTo>
                  <a:pt x="1577" y="521"/>
                </a:lnTo>
                <a:lnTo>
                  <a:pt x="1535" y="526"/>
                </a:lnTo>
                <a:lnTo>
                  <a:pt x="1494" y="534"/>
                </a:lnTo>
                <a:lnTo>
                  <a:pt x="1455" y="545"/>
                </a:lnTo>
                <a:lnTo>
                  <a:pt x="1420" y="560"/>
                </a:lnTo>
                <a:lnTo>
                  <a:pt x="1387" y="579"/>
                </a:lnTo>
                <a:lnTo>
                  <a:pt x="1356" y="601"/>
                </a:lnTo>
                <a:lnTo>
                  <a:pt x="1328" y="626"/>
                </a:lnTo>
                <a:lnTo>
                  <a:pt x="1303" y="653"/>
                </a:lnTo>
                <a:lnTo>
                  <a:pt x="1281" y="684"/>
                </a:lnTo>
                <a:lnTo>
                  <a:pt x="1261" y="719"/>
                </a:lnTo>
                <a:lnTo>
                  <a:pt x="1245" y="756"/>
                </a:lnTo>
                <a:lnTo>
                  <a:pt x="1233" y="796"/>
                </a:lnTo>
                <a:lnTo>
                  <a:pt x="1224" y="839"/>
                </a:lnTo>
                <a:lnTo>
                  <a:pt x="1218" y="886"/>
                </a:lnTo>
                <a:lnTo>
                  <a:pt x="1215" y="934"/>
                </a:lnTo>
                <a:lnTo>
                  <a:pt x="1215" y="1166"/>
                </a:lnTo>
                <a:lnTo>
                  <a:pt x="944" y="1166"/>
                </a:lnTo>
                <a:lnTo>
                  <a:pt x="944" y="1481"/>
                </a:lnTo>
                <a:lnTo>
                  <a:pt x="1215" y="1481"/>
                </a:lnTo>
                <a:lnTo>
                  <a:pt x="1215" y="2287"/>
                </a:lnTo>
                <a:lnTo>
                  <a:pt x="1541" y="2287"/>
                </a:lnTo>
                <a:close/>
                <a:moveTo>
                  <a:pt x="0" y="0"/>
                </a:moveTo>
                <a:lnTo>
                  <a:pt x="702" y="0"/>
                </a:lnTo>
                <a:lnTo>
                  <a:pt x="1403" y="0"/>
                </a:lnTo>
                <a:lnTo>
                  <a:pt x="2105" y="0"/>
                </a:lnTo>
                <a:lnTo>
                  <a:pt x="2807" y="0"/>
                </a:lnTo>
                <a:lnTo>
                  <a:pt x="2807" y="701"/>
                </a:lnTo>
                <a:lnTo>
                  <a:pt x="2807" y="1403"/>
                </a:lnTo>
                <a:lnTo>
                  <a:pt x="2807" y="2104"/>
                </a:lnTo>
                <a:lnTo>
                  <a:pt x="2807" y="2806"/>
                </a:lnTo>
                <a:lnTo>
                  <a:pt x="2105" y="2806"/>
                </a:lnTo>
                <a:lnTo>
                  <a:pt x="1403" y="2806"/>
                </a:lnTo>
                <a:lnTo>
                  <a:pt x="702" y="2806"/>
                </a:lnTo>
                <a:lnTo>
                  <a:pt x="0" y="2806"/>
                </a:lnTo>
                <a:lnTo>
                  <a:pt x="0" y="2104"/>
                </a:lnTo>
                <a:lnTo>
                  <a:pt x="0" y="1403"/>
                </a:lnTo>
                <a:lnTo>
                  <a:pt x="0" y="701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0201" tIns="40100" rIns="80201" bIns="40100" numCol="1" anchor="t" anchorCtr="0" compatLnSpc="1">
            <a:prstTxWarp prst="textNoShape">
              <a:avLst/>
            </a:prstTxWarp>
          </a:bodyPr>
          <a:lstStyle/>
          <a:p>
            <a:endParaRPr lang="en-GB" sz="1579"/>
          </a:p>
        </p:txBody>
      </p:sp>
      <p:sp>
        <p:nvSpPr>
          <p:cNvPr id="9" name="Freeform 10">
            <a:hlinkClick r:id="rId4" tooltip="YouTube"/>
          </p:cNvPr>
          <p:cNvSpPr>
            <a:spLocks noChangeAspect="1" noEditPoints="1"/>
          </p:cNvSpPr>
          <p:nvPr/>
        </p:nvSpPr>
        <p:spPr bwMode="auto">
          <a:xfrm>
            <a:off x="5536199" y="684481"/>
            <a:ext cx="252600" cy="317600"/>
          </a:xfrm>
          <a:custGeom>
            <a:avLst/>
            <a:gdLst>
              <a:gd name="T0" fmla="*/ 793 w 2804"/>
              <a:gd name="T1" fmla="*/ 1276 h 2806"/>
              <a:gd name="T2" fmla="*/ 704 w 2804"/>
              <a:gd name="T3" fmla="*/ 1239 h 2806"/>
              <a:gd name="T4" fmla="*/ 605 w 2804"/>
              <a:gd name="T5" fmla="*/ 1291 h 2806"/>
              <a:gd name="T6" fmla="*/ 587 w 2804"/>
              <a:gd name="T7" fmla="*/ 1595 h 2806"/>
              <a:gd name="T8" fmla="*/ 645 w 2804"/>
              <a:gd name="T9" fmla="*/ 1683 h 2806"/>
              <a:gd name="T10" fmla="*/ 749 w 2804"/>
              <a:gd name="T11" fmla="*/ 1688 h 2806"/>
              <a:gd name="T12" fmla="*/ 814 w 2804"/>
              <a:gd name="T13" fmla="*/ 1621 h 2806"/>
              <a:gd name="T14" fmla="*/ 738 w 2804"/>
              <a:gd name="T15" fmla="*/ 1591 h 2806"/>
              <a:gd name="T16" fmla="*/ 704 w 2804"/>
              <a:gd name="T17" fmla="*/ 1623 h 2806"/>
              <a:gd name="T18" fmla="*/ 668 w 2804"/>
              <a:gd name="T19" fmla="*/ 1579 h 2806"/>
              <a:gd name="T20" fmla="*/ 676 w 2804"/>
              <a:gd name="T21" fmla="*/ 1326 h 2806"/>
              <a:gd name="T22" fmla="*/ 725 w 2804"/>
              <a:gd name="T23" fmla="*/ 1320 h 2806"/>
              <a:gd name="T24" fmla="*/ 491 w 2804"/>
              <a:gd name="T25" fmla="*/ 1690 h 2806"/>
              <a:gd name="T26" fmla="*/ 491 w 2804"/>
              <a:gd name="T27" fmla="*/ 1447 h 2806"/>
              <a:gd name="T28" fmla="*/ 959 w 2804"/>
              <a:gd name="T29" fmla="*/ 1695 h 2806"/>
              <a:gd name="T30" fmla="*/ 894 w 2804"/>
              <a:gd name="T31" fmla="*/ 1662 h 2806"/>
              <a:gd name="T32" fmla="*/ 972 w 2804"/>
              <a:gd name="T33" fmla="*/ 1614 h 2806"/>
              <a:gd name="T34" fmla="*/ 1017 w 2804"/>
              <a:gd name="T35" fmla="*/ 1607 h 2806"/>
              <a:gd name="T36" fmla="*/ 1956 w 2804"/>
              <a:gd name="T37" fmla="*/ 1325 h 2806"/>
              <a:gd name="T38" fmla="*/ 1995 w 2804"/>
              <a:gd name="T39" fmla="*/ 1622 h 2806"/>
              <a:gd name="T40" fmla="*/ 2020 w 2804"/>
              <a:gd name="T41" fmla="*/ 1371 h 2806"/>
              <a:gd name="T42" fmla="*/ 1987 w 2804"/>
              <a:gd name="T43" fmla="*/ 1313 h 2806"/>
              <a:gd name="T44" fmla="*/ 2293 w 2804"/>
              <a:gd name="T45" fmla="*/ 1314 h 2806"/>
              <a:gd name="T46" fmla="*/ 2246 w 2804"/>
              <a:gd name="T47" fmla="*/ 1331 h 2806"/>
              <a:gd name="T48" fmla="*/ 2488 w 2804"/>
              <a:gd name="T49" fmla="*/ 1089 h 2806"/>
              <a:gd name="T50" fmla="*/ 2427 w 2804"/>
              <a:gd name="T51" fmla="*/ 991 h 2806"/>
              <a:gd name="T52" fmla="*/ 2315 w 2804"/>
              <a:gd name="T53" fmla="*/ 953 h 2806"/>
              <a:gd name="T54" fmla="*/ 1461 w 2804"/>
              <a:gd name="T55" fmla="*/ 948 h 2806"/>
              <a:gd name="T56" fmla="*/ 1274 w 2804"/>
              <a:gd name="T57" fmla="*/ 991 h 2806"/>
              <a:gd name="T58" fmla="*/ 1205 w 2804"/>
              <a:gd name="T59" fmla="*/ 1125 h 2806"/>
              <a:gd name="T60" fmla="*/ 1192 w 2804"/>
              <a:gd name="T61" fmla="*/ 1568 h 2806"/>
              <a:gd name="T62" fmla="*/ 1229 w 2804"/>
              <a:gd name="T63" fmla="*/ 1760 h 2806"/>
              <a:gd name="T64" fmla="*/ 1336 w 2804"/>
              <a:gd name="T65" fmla="*/ 1842 h 2806"/>
              <a:gd name="T66" fmla="*/ 1851 w 2804"/>
              <a:gd name="T67" fmla="*/ 1867 h 2806"/>
              <a:gd name="T68" fmla="*/ 2371 w 2804"/>
              <a:gd name="T69" fmla="*/ 1844 h 2806"/>
              <a:gd name="T70" fmla="*/ 2472 w 2804"/>
              <a:gd name="T71" fmla="*/ 1760 h 2806"/>
              <a:gd name="T72" fmla="*/ 2512 w 2804"/>
              <a:gd name="T73" fmla="*/ 1492 h 2806"/>
              <a:gd name="T74" fmla="*/ 1390 w 2804"/>
              <a:gd name="T75" fmla="*/ 1690 h 2806"/>
              <a:gd name="T76" fmla="*/ 1702 w 2804"/>
              <a:gd name="T77" fmla="*/ 1654 h 2806"/>
              <a:gd name="T78" fmla="*/ 1604 w 2804"/>
              <a:gd name="T79" fmla="*/ 1693 h 2806"/>
              <a:gd name="T80" fmla="*/ 1565 w 2804"/>
              <a:gd name="T81" fmla="*/ 1627 h 2806"/>
              <a:gd name="T82" fmla="*/ 1659 w 2804"/>
              <a:gd name="T83" fmla="*/ 1622 h 2806"/>
              <a:gd name="T84" fmla="*/ 1799 w 2804"/>
              <a:gd name="T85" fmla="*/ 1246 h 2806"/>
              <a:gd name="T86" fmla="*/ 2086 w 2804"/>
              <a:gd name="T87" fmla="*/ 1667 h 2806"/>
              <a:gd name="T88" fmla="*/ 2003 w 2804"/>
              <a:gd name="T89" fmla="*/ 1690 h 2806"/>
              <a:gd name="T90" fmla="*/ 1945 w 2804"/>
              <a:gd name="T91" fmla="*/ 1095 h 2806"/>
              <a:gd name="T92" fmla="*/ 2030 w 2804"/>
              <a:gd name="T93" fmla="*/ 1240 h 2806"/>
              <a:gd name="T94" fmla="*/ 2089 w 2804"/>
              <a:gd name="T95" fmla="*/ 1279 h 2806"/>
              <a:gd name="T96" fmla="*/ 2295 w 2804"/>
              <a:gd name="T97" fmla="*/ 1621 h 2806"/>
              <a:gd name="T98" fmla="*/ 2401 w 2804"/>
              <a:gd name="T99" fmla="*/ 1534 h 2806"/>
              <a:gd name="T100" fmla="*/ 2371 w 2804"/>
              <a:gd name="T101" fmla="*/ 1659 h 2806"/>
              <a:gd name="T102" fmla="*/ 2284 w 2804"/>
              <a:gd name="T103" fmla="*/ 1695 h 2806"/>
              <a:gd name="T104" fmla="*/ 2180 w 2804"/>
              <a:gd name="T105" fmla="*/ 1641 h 2806"/>
              <a:gd name="T106" fmla="*/ 2160 w 2804"/>
              <a:gd name="T107" fmla="*/ 1359 h 2806"/>
              <a:gd name="T108" fmla="*/ 2227 w 2804"/>
              <a:gd name="T109" fmla="*/ 1252 h 2806"/>
              <a:gd name="T110" fmla="*/ 2323 w 2804"/>
              <a:gd name="T111" fmla="*/ 1246 h 2806"/>
              <a:gd name="T112" fmla="*/ 2386 w 2804"/>
              <a:gd name="T113" fmla="*/ 1305 h 2806"/>
              <a:gd name="T114" fmla="*/ 2243 w 2804"/>
              <a:gd name="T115" fmla="*/ 1575 h 2806"/>
              <a:gd name="T116" fmla="*/ 0 w 2804"/>
              <a:gd name="T117" fmla="*/ 0 h 2806"/>
              <a:gd name="T118" fmla="*/ 700 w 2804"/>
              <a:gd name="T119" fmla="*/ 2806 h 28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804" h="2806">
                <a:moveTo>
                  <a:pt x="824" y="1388"/>
                </a:moveTo>
                <a:lnTo>
                  <a:pt x="822" y="1371"/>
                </a:lnTo>
                <a:lnTo>
                  <a:pt x="821" y="1355"/>
                </a:lnTo>
                <a:lnTo>
                  <a:pt x="819" y="1340"/>
                </a:lnTo>
                <a:lnTo>
                  <a:pt x="816" y="1325"/>
                </a:lnTo>
                <a:lnTo>
                  <a:pt x="813" y="1313"/>
                </a:lnTo>
                <a:lnTo>
                  <a:pt x="810" y="1307"/>
                </a:lnTo>
                <a:lnTo>
                  <a:pt x="808" y="1302"/>
                </a:lnTo>
                <a:lnTo>
                  <a:pt x="803" y="1291"/>
                </a:lnTo>
                <a:lnTo>
                  <a:pt x="796" y="1282"/>
                </a:lnTo>
                <a:lnTo>
                  <a:pt x="793" y="1276"/>
                </a:lnTo>
                <a:lnTo>
                  <a:pt x="788" y="1271"/>
                </a:lnTo>
                <a:lnTo>
                  <a:pt x="783" y="1267"/>
                </a:lnTo>
                <a:lnTo>
                  <a:pt x="778" y="1262"/>
                </a:lnTo>
                <a:lnTo>
                  <a:pt x="772" y="1258"/>
                </a:lnTo>
                <a:lnTo>
                  <a:pt x="767" y="1255"/>
                </a:lnTo>
                <a:lnTo>
                  <a:pt x="761" y="1251"/>
                </a:lnTo>
                <a:lnTo>
                  <a:pt x="754" y="1249"/>
                </a:lnTo>
                <a:lnTo>
                  <a:pt x="743" y="1245"/>
                </a:lnTo>
                <a:lnTo>
                  <a:pt x="730" y="1241"/>
                </a:lnTo>
                <a:lnTo>
                  <a:pt x="717" y="1240"/>
                </a:lnTo>
                <a:lnTo>
                  <a:pt x="704" y="1239"/>
                </a:lnTo>
                <a:lnTo>
                  <a:pt x="689" y="1240"/>
                </a:lnTo>
                <a:lnTo>
                  <a:pt x="681" y="1240"/>
                </a:lnTo>
                <a:lnTo>
                  <a:pt x="675" y="1241"/>
                </a:lnTo>
                <a:lnTo>
                  <a:pt x="663" y="1245"/>
                </a:lnTo>
                <a:lnTo>
                  <a:pt x="650" y="1249"/>
                </a:lnTo>
                <a:lnTo>
                  <a:pt x="639" y="1255"/>
                </a:lnTo>
                <a:lnTo>
                  <a:pt x="634" y="1258"/>
                </a:lnTo>
                <a:lnTo>
                  <a:pt x="628" y="1262"/>
                </a:lnTo>
                <a:lnTo>
                  <a:pt x="619" y="1271"/>
                </a:lnTo>
                <a:lnTo>
                  <a:pt x="611" y="1282"/>
                </a:lnTo>
                <a:lnTo>
                  <a:pt x="605" y="1291"/>
                </a:lnTo>
                <a:lnTo>
                  <a:pt x="598" y="1302"/>
                </a:lnTo>
                <a:lnTo>
                  <a:pt x="595" y="1313"/>
                </a:lnTo>
                <a:lnTo>
                  <a:pt x="591" y="1325"/>
                </a:lnTo>
                <a:lnTo>
                  <a:pt x="587" y="1340"/>
                </a:lnTo>
                <a:lnTo>
                  <a:pt x="586" y="1355"/>
                </a:lnTo>
                <a:lnTo>
                  <a:pt x="585" y="1371"/>
                </a:lnTo>
                <a:lnTo>
                  <a:pt x="584" y="1388"/>
                </a:lnTo>
                <a:lnTo>
                  <a:pt x="584" y="1548"/>
                </a:lnTo>
                <a:lnTo>
                  <a:pt x="584" y="1565"/>
                </a:lnTo>
                <a:lnTo>
                  <a:pt x="585" y="1581"/>
                </a:lnTo>
                <a:lnTo>
                  <a:pt x="587" y="1595"/>
                </a:lnTo>
                <a:lnTo>
                  <a:pt x="590" y="1609"/>
                </a:lnTo>
                <a:lnTo>
                  <a:pt x="592" y="1615"/>
                </a:lnTo>
                <a:lnTo>
                  <a:pt x="594" y="1621"/>
                </a:lnTo>
                <a:lnTo>
                  <a:pt x="598" y="1632"/>
                </a:lnTo>
                <a:lnTo>
                  <a:pt x="603" y="1642"/>
                </a:lnTo>
                <a:lnTo>
                  <a:pt x="610" y="1651"/>
                </a:lnTo>
                <a:lnTo>
                  <a:pt x="618" y="1662"/>
                </a:lnTo>
                <a:lnTo>
                  <a:pt x="623" y="1667"/>
                </a:lnTo>
                <a:lnTo>
                  <a:pt x="628" y="1670"/>
                </a:lnTo>
                <a:lnTo>
                  <a:pt x="639" y="1679"/>
                </a:lnTo>
                <a:lnTo>
                  <a:pt x="645" y="1683"/>
                </a:lnTo>
                <a:lnTo>
                  <a:pt x="652" y="1685"/>
                </a:lnTo>
                <a:lnTo>
                  <a:pt x="664" y="1690"/>
                </a:lnTo>
                <a:lnTo>
                  <a:pt x="676" y="1694"/>
                </a:lnTo>
                <a:lnTo>
                  <a:pt x="684" y="1695"/>
                </a:lnTo>
                <a:lnTo>
                  <a:pt x="690" y="1696"/>
                </a:lnTo>
                <a:lnTo>
                  <a:pt x="696" y="1698"/>
                </a:lnTo>
                <a:lnTo>
                  <a:pt x="704" y="1698"/>
                </a:lnTo>
                <a:lnTo>
                  <a:pt x="717" y="1696"/>
                </a:lnTo>
                <a:lnTo>
                  <a:pt x="730" y="1694"/>
                </a:lnTo>
                <a:lnTo>
                  <a:pt x="743" y="1690"/>
                </a:lnTo>
                <a:lnTo>
                  <a:pt x="749" y="1688"/>
                </a:lnTo>
                <a:lnTo>
                  <a:pt x="756" y="1685"/>
                </a:lnTo>
                <a:lnTo>
                  <a:pt x="768" y="1679"/>
                </a:lnTo>
                <a:lnTo>
                  <a:pt x="774" y="1675"/>
                </a:lnTo>
                <a:lnTo>
                  <a:pt x="779" y="1670"/>
                </a:lnTo>
                <a:lnTo>
                  <a:pt x="784" y="1667"/>
                </a:lnTo>
                <a:lnTo>
                  <a:pt x="789" y="1662"/>
                </a:lnTo>
                <a:lnTo>
                  <a:pt x="794" y="1657"/>
                </a:lnTo>
                <a:lnTo>
                  <a:pt x="799" y="1651"/>
                </a:lnTo>
                <a:lnTo>
                  <a:pt x="804" y="1642"/>
                </a:lnTo>
                <a:lnTo>
                  <a:pt x="810" y="1632"/>
                </a:lnTo>
                <a:lnTo>
                  <a:pt x="814" y="1621"/>
                </a:lnTo>
                <a:lnTo>
                  <a:pt x="817" y="1609"/>
                </a:lnTo>
                <a:lnTo>
                  <a:pt x="820" y="1595"/>
                </a:lnTo>
                <a:lnTo>
                  <a:pt x="821" y="1581"/>
                </a:lnTo>
                <a:lnTo>
                  <a:pt x="822" y="1565"/>
                </a:lnTo>
                <a:lnTo>
                  <a:pt x="824" y="1548"/>
                </a:lnTo>
                <a:lnTo>
                  <a:pt x="824" y="1388"/>
                </a:lnTo>
                <a:close/>
                <a:moveTo>
                  <a:pt x="740" y="1557"/>
                </a:moveTo>
                <a:lnTo>
                  <a:pt x="740" y="1573"/>
                </a:lnTo>
                <a:lnTo>
                  <a:pt x="740" y="1579"/>
                </a:lnTo>
                <a:lnTo>
                  <a:pt x="740" y="1586"/>
                </a:lnTo>
                <a:lnTo>
                  <a:pt x="738" y="1591"/>
                </a:lnTo>
                <a:lnTo>
                  <a:pt x="737" y="1597"/>
                </a:lnTo>
                <a:lnTo>
                  <a:pt x="735" y="1602"/>
                </a:lnTo>
                <a:lnTo>
                  <a:pt x="732" y="1606"/>
                </a:lnTo>
                <a:lnTo>
                  <a:pt x="730" y="1610"/>
                </a:lnTo>
                <a:lnTo>
                  <a:pt x="727" y="1614"/>
                </a:lnTo>
                <a:lnTo>
                  <a:pt x="725" y="1617"/>
                </a:lnTo>
                <a:lnTo>
                  <a:pt x="721" y="1618"/>
                </a:lnTo>
                <a:lnTo>
                  <a:pt x="717" y="1621"/>
                </a:lnTo>
                <a:lnTo>
                  <a:pt x="712" y="1622"/>
                </a:lnTo>
                <a:lnTo>
                  <a:pt x="709" y="1623"/>
                </a:lnTo>
                <a:lnTo>
                  <a:pt x="704" y="1623"/>
                </a:lnTo>
                <a:lnTo>
                  <a:pt x="699" y="1623"/>
                </a:lnTo>
                <a:lnTo>
                  <a:pt x="694" y="1622"/>
                </a:lnTo>
                <a:lnTo>
                  <a:pt x="690" y="1621"/>
                </a:lnTo>
                <a:lnTo>
                  <a:pt x="686" y="1618"/>
                </a:lnTo>
                <a:lnTo>
                  <a:pt x="683" y="1617"/>
                </a:lnTo>
                <a:lnTo>
                  <a:pt x="680" y="1614"/>
                </a:lnTo>
                <a:lnTo>
                  <a:pt x="676" y="1610"/>
                </a:lnTo>
                <a:lnTo>
                  <a:pt x="674" y="1606"/>
                </a:lnTo>
                <a:lnTo>
                  <a:pt x="670" y="1597"/>
                </a:lnTo>
                <a:lnTo>
                  <a:pt x="668" y="1586"/>
                </a:lnTo>
                <a:lnTo>
                  <a:pt x="668" y="1579"/>
                </a:lnTo>
                <a:lnTo>
                  <a:pt x="668" y="1573"/>
                </a:lnTo>
                <a:lnTo>
                  <a:pt x="668" y="1557"/>
                </a:lnTo>
                <a:lnTo>
                  <a:pt x="668" y="1380"/>
                </a:lnTo>
                <a:lnTo>
                  <a:pt x="668" y="1364"/>
                </a:lnTo>
                <a:lnTo>
                  <a:pt x="668" y="1357"/>
                </a:lnTo>
                <a:lnTo>
                  <a:pt x="668" y="1350"/>
                </a:lnTo>
                <a:lnTo>
                  <a:pt x="669" y="1345"/>
                </a:lnTo>
                <a:lnTo>
                  <a:pt x="670" y="1339"/>
                </a:lnTo>
                <a:lnTo>
                  <a:pt x="673" y="1334"/>
                </a:lnTo>
                <a:lnTo>
                  <a:pt x="674" y="1330"/>
                </a:lnTo>
                <a:lnTo>
                  <a:pt x="676" y="1326"/>
                </a:lnTo>
                <a:lnTo>
                  <a:pt x="680" y="1323"/>
                </a:lnTo>
                <a:lnTo>
                  <a:pt x="683" y="1320"/>
                </a:lnTo>
                <a:lnTo>
                  <a:pt x="686" y="1318"/>
                </a:lnTo>
                <a:lnTo>
                  <a:pt x="694" y="1315"/>
                </a:lnTo>
                <a:lnTo>
                  <a:pt x="699" y="1314"/>
                </a:lnTo>
                <a:lnTo>
                  <a:pt x="704" y="1314"/>
                </a:lnTo>
                <a:lnTo>
                  <a:pt x="709" y="1314"/>
                </a:lnTo>
                <a:lnTo>
                  <a:pt x="712" y="1315"/>
                </a:lnTo>
                <a:lnTo>
                  <a:pt x="717" y="1317"/>
                </a:lnTo>
                <a:lnTo>
                  <a:pt x="721" y="1318"/>
                </a:lnTo>
                <a:lnTo>
                  <a:pt x="725" y="1320"/>
                </a:lnTo>
                <a:lnTo>
                  <a:pt x="727" y="1323"/>
                </a:lnTo>
                <a:lnTo>
                  <a:pt x="730" y="1326"/>
                </a:lnTo>
                <a:lnTo>
                  <a:pt x="733" y="1330"/>
                </a:lnTo>
                <a:lnTo>
                  <a:pt x="737" y="1339"/>
                </a:lnTo>
                <a:lnTo>
                  <a:pt x="740" y="1350"/>
                </a:lnTo>
                <a:lnTo>
                  <a:pt x="740" y="1357"/>
                </a:lnTo>
                <a:lnTo>
                  <a:pt x="740" y="1364"/>
                </a:lnTo>
                <a:lnTo>
                  <a:pt x="740" y="1380"/>
                </a:lnTo>
                <a:lnTo>
                  <a:pt x="740" y="1557"/>
                </a:lnTo>
                <a:close/>
                <a:moveTo>
                  <a:pt x="491" y="1447"/>
                </a:moveTo>
                <a:lnTo>
                  <a:pt x="491" y="1690"/>
                </a:lnTo>
                <a:lnTo>
                  <a:pt x="402" y="1690"/>
                </a:lnTo>
                <a:lnTo>
                  <a:pt x="402" y="1447"/>
                </a:lnTo>
                <a:lnTo>
                  <a:pt x="353" y="1289"/>
                </a:lnTo>
                <a:lnTo>
                  <a:pt x="316" y="1171"/>
                </a:lnTo>
                <a:lnTo>
                  <a:pt x="302" y="1122"/>
                </a:lnTo>
                <a:lnTo>
                  <a:pt x="292" y="1091"/>
                </a:lnTo>
                <a:lnTo>
                  <a:pt x="384" y="1091"/>
                </a:lnTo>
                <a:lnTo>
                  <a:pt x="446" y="1325"/>
                </a:lnTo>
                <a:lnTo>
                  <a:pt x="508" y="1091"/>
                </a:lnTo>
                <a:lnTo>
                  <a:pt x="601" y="1091"/>
                </a:lnTo>
                <a:lnTo>
                  <a:pt x="491" y="1447"/>
                </a:lnTo>
                <a:close/>
                <a:moveTo>
                  <a:pt x="1121" y="1690"/>
                </a:moveTo>
                <a:lnTo>
                  <a:pt x="1036" y="1690"/>
                </a:lnTo>
                <a:lnTo>
                  <a:pt x="1036" y="1641"/>
                </a:lnTo>
                <a:lnTo>
                  <a:pt x="1024" y="1654"/>
                </a:lnTo>
                <a:lnTo>
                  <a:pt x="1013" y="1666"/>
                </a:lnTo>
                <a:lnTo>
                  <a:pt x="1002" y="1674"/>
                </a:lnTo>
                <a:lnTo>
                  <a:pt x="991" y="1683"/>
                </a:lnTo>
                <a:lnTo>
                  <a:pt x="980" y="1688"/>
                </a:lnTo>
                <a:lnTo>
                  <a:pt x="970" y="1693"/>
                </a:lnTo>
                <a:lnTo>
                  <a:pt x="963" y="1694"/>
                </a:lnTo>
                <a:lnTo>
                  <a:pt x="959" y="1695"/>
                </a:lnTo>
                <a:lnTo>
                  <a:pt x="947" y="1696"/>
                </a:lnTo>
                <a:lnTo>
                  <a:pt x="939" y="1695"/>
                </a:lnTo>
                <a:lnTo>
                  <a:pt x="930" y="1694"/>
                </a:lnTo>
                <a:lnTo>
                  <a:pt x="925" y="1693"/>
                </a:lnTo>
                <a:lnTo>
                  <a:pt x="921" y="1691"/>
                </a:lnTo>
                <a:lnTo>
                  <a:pt x="915" y="1688"/>
                </a:lnTo>
                <a:lnTo>
                  <a:pt x="909" y="1683"/>
                </a:lnTo>
                <a:lnTo>
                  <a:pt x="903" y="1677"/>
                </a:lnTo>
                <a:lnTo>
                  <a:pt x="898" y="1669"/>
                </a:lnTo>
                <a:lnTo>
                  <a:pt x="897" y="1666"/>
                </a:lnTo>
                <a:lnTo>
                  <a:pt x="894" y="1662"/>
                </a:lnTo>
                <a:lnTo>
                  <a:pt x="893" y="1657"/>
                </a:lnTo>
                <a:lnTo>
                  <a:pt x="890" y="1651"/>
                </a:lnTo>
                <a:lnTo>
                  <a:pt x="888" y="1636"/>
                </a:lnTo>
                <a:lnTo>
                  <a:pt x="887" y="1627"/>
                </a:lnTo>
                <a:lnTo>
                  <a:pt x="886" y="1618"/>
                </a:lnTo>
                <a:lnTo>
                  <a:pt x="886" y="1596"/>
                </a:lnTo>
                <a:lnTo>
                  <a:pt x="886" y="1242"/>
                </a:lnTo>
                <a:lnTo>
                  <a:pt x="970" y="1242"/>
                </a:lnTo>
                <a:lnTo>
                  <a:pt x="970" y="1574"/>
                </a:lnTo>
                <a:lnTo>
                  <a:pt x="970" y="1606"/>
                </a:lnTo>
                <a:lnTo>
                  <a:pt x="972" y="1614"/>
                </a:lnTo>
                <a:lnTo>
                  <a:pt x="973" y="1616"/>
                </a:lnTo>
                <a:lnTo>
                  <a:pt x="976" y="1618"/>
                </a:lnTo>
                <a:lnTo>
                  <a:pt x="977" y="1621"/>
                </a:lnTo>
                <a:lnTo>
                  <a:pt x="981" y="1622"/>
                </a:lnTo>
                <a:lnTo>
                  <a:pt x="983" y="1622"/>
                </a:lnTo>
                <a:lnTo>
                  <a:pt x="987" y="1622"/>
                </a:lnTo>
                <a:lnTo>
                  <a:pt x="993" y="1622"/>
                </a:lnTo>
                <a:lnTo>
                  <a:pt x="999" y="1620"/>
                </a:lnTo>
                <a:lnTo>
                  <a:pt x="1006" y="1617"/>
                </a:lnTo>
                <a:lnTo>
                  <a:pt x="1012" y="1612"/>
                </a:lnTo>
                <a:lnTo>
                  <a:pt x="1017" y="1607"/>
                </a:lnTo>
                <a:lnTo>
                  <a:pt x="1023" y="1600"/>
                </a:lnTo>
                <a:lnTo>
                  <a:pt x="1036" y="1584"/>
                </a:lnTo>
                <a:lnTo>
                  <a:pt x="1036" y="1242"/>
                </a:lnTo>
                <a:lnTo>
                  <a:pt x="1121" y="1242"/>
                </a:lnTo>
                <a:lnTo>
                  <a:pt x="1121" y="1690"/>
                </a:lnTo>
                <a:close/>
                <a:moveTo>
                  <a:pt x="1987" y="1313"/>
                </a:moveTo>
                <a:lnTo>
                  <a:pt x="1982" y="1313"/>
                </a:lnTo>
                <a:lnTo>
                  <a:pt x="1977" y="1314"/>
                </a:lnTo>
                <a:lnTo>
                  <a:pt x="1966" y="1318"/>
                </a:lnTo>
                <a:lnTo>
                  <a:pt x="1961" y="1322"/>
                </a:lnTo>
                <a:lnTo>
                  <a:pt x="1956" y="1325"/>
                </a:lnTo>
                <a:lnTo>
                  <a:pt x="1950" y="1329"/>
                </a:lnTo>
                <a:lnTo>
                  <a:pt x="1945" y="1334"/>
                </a:lnTo>
                <a:lnTo>
                  <a:pt x="1945" y="1602"/>
                </a:lnTo>
                <a:lnTo>
                  <a:pt x="1956" y="1611"/>
                </a:lnTo>
                <a:lnTo>
                  <a:pt x="1961" y="1615"/>
                </a:lnTo>
                <a:lnTo>
                  <a:pt x="1966" y="1617"/>
                </a:lnTo>
                <a:lnTo>
                  <a:pt x="1972" y="1620"/>
                </a:lnTo>
                <a:lnTo>
                  <a:pt x="1977" y="1621"/>
                </a:lnTo>
                <a:lnTo>
                  <a:pt x="1982" y="1622"/>
                </a:lnTo>
                <a:lnTo>
                  <a:pt x="1987" y="1622"/>
                </a:lnTo>
                <a:lnTo>
                  <a:pt x="1995" y="1622"/>
                </a:lnTo>
                <a:lnTo>
                  <a:pt x="1999" y="1621"/>
                </a:lnTo>
                <a:lnTo>
                  <a:pt x="2002" y="1620"/>
                </a:lnTo>
                <a:lnTo>
                  <a:pt x="2005" y="1617"/>
                </a:lnTo>
                <a:lnTo>
                  <a:pt x="2008" y="1615"/>
                </a:lnTo>
                <a:lnTo>
                  <a:pt x="2010" y="1612"/>
                </a:lnTo>
                <a:lnTo>
                  <a:pt x="2013" y="1609"/>
                </a:lnTo>
                <a:lnTo>
                  <a:pt x="2016" y="1600"/>
                </a:lnTo>
                <a:lnTo>
                  <a:pt x="2019" y="1590"/>
                </a:lnTo>
                <a:lnTo>
                  <a:pt x="2020" y="1576"/>
                </a:lnTo>
                <a:lnTo>
                  <a:pt x="2020" y="1562"/>
                </a:lnTo>
                <a:lnTo>
                  <a:pt x="2020" y="1371"/>
                </a:lnTo>
                <a:lnTo>
                  <a:pt x="2020" y="1355"/>
                </a:lnTo>
                <a:lnTo>
                  <a:pt x="2019" y="1343"/>
                </a:lnTo>
                <a:lnTo>
                  <a:pt x="2016" y="1333"/>
                </a:lnTo>
                <a:lnTo>
                  <a:pt x="2014" y="1329"/>
                </a:lnTo>
                <a:lnTo>
                  <a:pt x="2013" y="1325"/>
                </a:lnTo>
                <a:lnTo>
                  <a:pt x="2010" y="1323"/>
                </a:lnTo>
                <a:lnTo>
                  <a:pt x="2008" y="1319"/>
                </a:lnTo>
                <a:lnTo>
                  <a:pt x="2005" y="1318"/>
                </a:lnTo>
                <a:lnTo>
                  <a:pt x="2002" y="1315"/>
                </a:lnTo>
                <a:lnTo>
                  <a:pt x="1995" y="1314"/>
                </a:lnTo>
                <a:lnTo>
                  <a:pt x="1987" y="1313"/>
                </a:lnTo>
                <a:close/>
                <a:moveTo>
                  <a:pt x="2317" y="1366"/>
                </a:moveTo>
                <a:lnTo>
                  <a:pt x="2317" y="1352"/>
                </a:lnTo>
                <a:lnTo>
                  <a:pt x="2316" y="1341"/>
                </a:lnTo>
                <a:lnTo>
                  <a:pt x="2315" y="1336"/>
                </a:lnTo>
                <a:lnTo>
                  <a:pt x="2313" y="1331"/>
                </a:lnTo>
                <a:lnTo>
                  <a:pt x="2308" y="1324"/>
                </a:lnTo>
                <a:lnTo>
                  <a:pt x="2306" y="1322"/>
                </a:lnTo>
                <a:lnTo>
                  <a:pt x="2303" y="1319"/>
                </a:lnTo>
                <a:lnTo>
                  <a:pt x="2301" y="1318"/>
                </a:lnTo>
                <a:lnTo>
                  <a:pt x="2297" y="1315"/>
                </a:lnTo>
                <a:lnTo>
                  <a:pt x="2293" y="1314"/>
                </a:lnTo>
                <a:lnTo>
                  <a:pt x="2290" y="1314"/>
                </a:lnTo>
                <a:lnTo>
                  <a:pt x="2280" y="1313"/>
                </a:lnTo>
                <a:lnTo>
                  <a:pt x="2271" y="1314"/>
                </a:lnTo>
                <a:lnTo>
                  <a:pt x="2266" y="1314"/>
                </a:lnTo>
                <a:lnTo>
                  <a:pt x="2263" y="1315"/>
                </a:lnTo>
                <a:lnTo>
                  <a:pt x="2260" y="1317"/>
                </a:lnTo>
                <a:lnTo>
                  <a:pt x="2256" y="1319"/>
                </a:lnTo>
                <a:lnTo>
                  <a:pt x="2254" y="1322"/>
                </a:lnTo>
                <a:lnTo>
                  <a:pt x="2251" y="1324"/>
                </a:lnTo>
                <a:lnTo>
                  <a:pt x="2249" y="1328"/>
                </a:lnTo>
                <a:lnTo>
                  <a:pt x="2246" y="1331"/>
                </a:lnTo>
                <a:lnTo>
                  <a:pt x="2245" y="1335"/>
                </a:lnTo>
                <a:lnTo>
                  <a:pt x="2244" y="1340"/>
                </a:lnTo>
                <a:lnTo>
                  <a:pt x="2243" y="1351"/>
                </a:lnTo>
                <a:lnTo>
                  <a:pt x="2242" y="1366"/>
                </a:lnTo>
                <a:lnTo>
                  <a:pt x="2242" y="1414"/>
                </a:lnTo>
                <a:lnTo>
                  <a:pt x="2317" y="1414"/>
                </a:lnTo>
                <a:lnTo>
                  <a:pt x="2317" y="1366"/>
                </a:lnTo>
                <a:close/>
                <a:moveTo>
                  <a:pt x="2499" y="1140"/>
                </a:moveTo>
                <a:lnTo>
                  <a:pt x="2496" y="1125"/>
                </a:lnTo>
                <a:lnTo>
                  <a:pt x="2493" y="1109"/>
                </a:lnTo>
                <a:lnTo>
                  <a:pt x="2488" y="1089"/>
                </a:lnTo>
                <a:lnTo>
                  <a:pt x="2485" y="1079"/>
                </a:lnTo>
                <a:lnTo>
                  <a:pt x="2480" y="1068"/>
                </a:lnTo>
                <a:lnTo>
                  <a:pt x="2477" y="1057"/>
                </a:lnTo>
                <a:lnTo>
                  <a:pt x="2472" y="1046"/>
                </a:lnTo>
                <a:lnTo>
                  <a:pt x="2467" y="1036"/>
                </a:lnTo>
                <a:lnTo>
                  <a:pt x="2461" y="1026"/>
                </a:lnTo>
                <a:lnTo>
                  <a:pt x="2454" y="1017"/>
                </a:lnTo>
                <a:lnTo>
                  <a:pt x="2447" y="1009"/>
                </a:lnTo>
                <a:lnTo>
                  <a:pt x="2442" y="1004"/>
                </a:lnTo>
                <a:lnTo>
                  <a:pt x="2437" y="1000"/>
                </a:lnTo>
                <a:lnTo>
                  <a:pt x="2427" y="991"/>
                </a:lnTo>
                <a:lnTo>
                  <a:pt x="2418" y="984"/>
                </a:lnTo>
                <a:lnTo>
                  <a:pt x="2409" y="979"/>
                </a:lnTo>
                <a:lnTo>
                  <a:pt x="2399" y="973"/>
                </a:lnTo>
                <a:lnTo>
                  <a:pt x="2390" y="969"/>
                </a:lnTo>
                <a:lnTo>
                  <a:pt x="2380" y="965"/>
                </a:lnTo>
                <a:lnTo>
                  <a:pt x="2371" y="963"/>
                </a:lnTo>
                <a:lnTo>
                  <a:pt x="2363" y="960"/>
                </a:lnTo>
                <a:lnTo>
                  <a:pt x="2354" y="958"/>
                </a:lnTo>
                <a:lnTo>
                  <a:pt x="2347" y="957"/>
                </a:lnTo>
                <a:lnTo>
                  <a:pt x="2339" y="955"/>
                </a:lnTo>
                <a:lnTo>
                  <a:pt x="2315" y="953"/>
                </a:lnTo>
                <a:lnTo>
                  <a:pt x="2242" y="948"/>
                </a:lnTo>
                <a:lnTo>
                  <a:pt x="2164" y="945"/>
                </a:lnTo>
                <a:lnTo>
                  <a:pt x="2086" y="943"/>
                </a:lnTo>
                <a:lnTo>
                  <a:pt x="2013" y="942"/>
                </a:lnTo>
                <a:lnTo>
                  <a:pt x="1898" y="939"/>
                </a:lnTo>
                <a:lnTo>
                  <a:pt x="1851" y="939"/>
                </a:lnTo>
                <a:lnTo>
                  <a:pt x="1805" y="939"/>
                </a:lnTo>
                <a:lnTo>
                  <a:pt x="1688" y="942"/>
                </a:lnTo>
                <a:lnTo>
                  <a:pt x="1615" y="943"/>
                </a:lnTo>
                <a:lnTo>
                  <a:pt x="1538" y="945"/>
                </a:lnTo>
                <a:lnTo>
                  <a:pt x="1461" y="948"/>
                </a:lnTo>
                <a:lnTo>
                  <a:pt x="1387" y="953"/>
                </a:lnTo>
                <a:lnTo>
                  <a:pt x="1377" y="954"/>
                </a:lnTo>
                <a:lnTo>
                  <a:pt x="1363" y="955"/>
                </a:lnTo>
                <a:lnTo>
                  <a:pt x="1347" y="958"/>
                </a:lnTo>
                <a:lnTo>
                  <a:pt x="1338" y="960"/>
                </a:lnTo>
                <a:lnTo>
                  <a:pt x="1330" y="963"/>
                </a:lnTo>
                <a:lnTo>
                  <a:pt x="1312" y="969"/>
                </a:lnTo>
                <a:lnTo>
                  <a:pt x="1302" y="973"/>
                </a:lnTo>
                <a:lnTo>
                  <a:pt x="1293" y="979"/>
                </a:lnTo>
                <a:lnTo>
                  <a:pt x="1283" y="984"/>
                </a:lnTo>
                <a:lnTo>
                  <a:pt x="1274" y="991"/>
                </a:lnTo>
                <a:lnTo>
                  <a:pt x="1264" y="1000"/>
                </a:lnTo>
                <a:lnTo>
                  <a:pt x="1254" y="1009"/>
                </a:lnTo>
                <a:lnTo>
                  <a:pt x="1247" y="1017"/>
                </a:lnTo>
                <a:lnTo>
                  <a:pt x="1241" y="1026"/>
                </a:lnTo>
                <a:lnTo>
                  <a:pt x="1234" y="1036"/>
                </a:lnTo>
                <a:lnTo>
                  <a:pt x="1229" y="1046"/>
                </a:lnTo>
                <a:lnTo>
                  <a:pt x="1225" y="1057"/>
                </a:lnTo>
                <a:lnTo>
                  <a:pt x="1221" y="1068"/>
                </a:lnTo>
                <a:lnTo>
                  <a:pt x="1213" y="1089"/>
                </a:lnTo>
                <a:lnTo>
                  <a:pt x="1208" y="1109"/>
                </a:lnTo>
                <a:lnTo>
                  <a:pt x="1205" y="1125"/>
                </a:lnTo>
                <a:lnTo>
                  <a:pt x="1202" y="1140"/>
                </a:lnTo>
                <a:lnTo>
                  <a:pt x="1200" y="1158"/>
                </a:lnTo>
                <a:lnTo>
                  <a:pt x="1195" y="1206"/>
                </a:lnTo>
                <a:lnTo>
                  <a:pt x="1192" y="1239"/>
                </a:lnTo>
                <a:lnTo>
                  <a:pt x="1191" y="1275"/>
                </a:lnTo>
                <a:lnTo>
                  <a:pt x="1189" y="1313"/>
                </a:lnTo>
                <a:lnTo>
                  <a:pt x="1189" y="1352"/>
                </a:lnTo>
                <a:lnTo>
                  <a:pt x="1189" y="1453"/>
                </a:lnTo>
                <a:lnTo>
                  <a:pt x="1189" y="1492"/>
                </a:lnTo>
                <a:lnTo>
                  <a:pt x="1191" y="1531"/>
                </a:lnTo>
                <a:lnTo>
                  <a:pt x="1192" y="1568"/>
                </a:lnTo>
                <a:lnTo>
                  <a:pt x="1195" y="1600"/>
                </a:lnTo>
                <a:lnTo>
                  <a:pt x="1197" y="1627"/>
                </a:lnTo>
                <a:lnTo>
                  <a:pt x="1200" y="1648"/>
                </a:lnTo>
                <a:lnTo>
                  <a:pt x="1202" y="1667"/>
                </a:lnTo>
                <a:lnTo>
                  <a:pt x="1205" y="1682"/>
                </a:lnTo>
                <a:lnTo>
                  <a:pt x="1208" y="1696"/>
                </a:lnTo>
                <a:lnTo>
                  <a:pt x="1213" y="1716"/>
                </a:lnTo>
                <a:lnTo>
                  <a:pt x="1217" y="1727"/>
                </a:lnTo>
                <a:lnTo>
                  <a:pt x="1221" y="1739"/>
                </a:lnTo>
                <a:lnTo>
                  <a:pt x="1225" y="1748"/>
                </a:lnTo>
                <a:lnTo>
                  <a:pt x="1229" y="1760"/>
                </a:lnTo>
                <a:lnTo>
                  <a:pt x="1234" y="1771"/>
                </a:lnTo>
                <a:lnTo>
                  <a:pt x="1241" y="1779"/>
                </a:lnTo>
                <a:lnTo>
                  <a:pt x="1247" y="1789"/>
                </a:lnTo>
                <a:lnTo>
                  <a:pt x="1254" y="1797"/>
                </a:lnTo>
                <a:lnTo>
                  <a:pt x="1264" y="1807"/>
                </a:lnTo>
                <a:lnTo>
                  <a:pt x="1274" y="1814"/>
                </a:lnTo>
                <a:lnTo>
                  <a:pt x="1284" y="1821"/>
                </a:lnTo>
                <a:lnTo>
                  <a:pt x="1294" y="1828"/>
                </a:lnTo>
                <a:lnTo>
                  <a:pt x="1305" y="1833"/>
                </a:lnTo>
                <a:lnTo>
                  <a:pt x="1315" y="1836"/>
                </a:lnTo>
                <a:lnTo>
                  <a:pt x="1336" y="1842"/>
                </a:lnTo>
                <a:lnTo>
                  <a:pt x="1345" y="1845"/>
                </a:lnTo>
                <a:lnTo>
                  <a:pt x="1354" y="1847"/>
                </a:lnTo>
                <a:lnTo>
                  <a:pt x="1372" y="1850"/>
                </a:lnTo>
                <a:lnTo>
                  <a:pt x="1400" y="1854"/>
                </a:lnTo>
                <a:lnTo>
                  <a:pt x="1422" y="1855"/>
                </a:lnTo>
                <a:lnTo>
                  <a:pt x="1450" y="1857"/>
                </a:lnTo>
                <a:lnTo>
                  <a:pt x="1515" y="1860"/>
                </a:lnTo>
                <a:lnTo>
                  <a:pt x="1590" y="1862"/>
                </a:lnTo>
                <a:lnTo>
                  <a:pt x="1665" y="1863"/>
                </a:lnTo>
                <a:lnTo>
                  <a:pt x="1795" y="1866"/>
                </a:lnTo>
                <a:lnTo>
                  <a:pt x="1851" y="1867"/>
                </a:lnTo>
                <a:lnTo>
                  <a:pt x="1898" y="1866"/>
                </a:lnTo>
                <a:lnTo>
                  <a:pt x="2013" y="1865"/>
                </a:lnTo>
                <a:lnTo>
                  <a:pt x="2086" y="1863"/>
                </a:lnTo>
                <a:lnTo>
                  <a:pt x="2164" y="1861"/>
                </a:lnTo>
                <a:lnTo>
                  <a:pt x="2242" y="1857"/>
                </a:lnTo>
                <a:lnTo>
                  <a:pt x="2315" y="1852"/>
                </a:lnTo>
                <a:lnTo>
                  <a:pt x="2326" y="1852"/>
                </a:lnTo>
                <a:lnTo>
                  <a:pt x="2339" y="1850"/>
                </a:lnTo>
                <a:lnTo>
                  <a:pt x="2354" y="1847"/>
                </a:lnTo>
                <a:lnTo>
                  <a:pt x="2363" y="1846"/>
                </a:lnTo>
                <a:lnTo>
                  <a:pt x="2371" y="1844"/>
                </a:lnTo>
                <a:lnTo>
                  <a:pt x="2390" y="1837"/>
                </a:lnTo>
                <a:lnTo>
                  <a:pt x="2399" y="1833"/>
                </a:lnTo>
                <a:lnTo>
                  <a:pt x="2409" y="1828"/>
                </a:lnTo>
                <a:lnTo>
                  <a:pt x="2418" y="1821"/>
                </a:lnTo>
                <a:lnTo>
                  <a:pt x="2427" y="1814"/>
                </a:lnTo>
                <a:lnTo>
                  <a:pt x="2437" y="1807"/>
                </a:lnTo>
                <a:lnTo>
                  <a:pt x="2447" y="1797"/>
                </a:lnTo>
                <a:lnTo>
                  <a:pt x="2454" y="1789"/>
                </a:lnTo>
                <a:lnTo>
                  <a:pt x="2461" y="1779"/>
                </a:lnTo>
                <a:lnTo>
                  <a:pt x="2467" y="1771"/>
                </a:lnTo>
                <a:lnTo>
                  <a:pt x="2472" y="1760"/>
                </a:lnTo>
                <a:lnTo>
                  <a:pt x="2477" y="1748"/>
                </a:lnTo>
                <a:lnTo>
                  <a:pt x="2480" y="1739"/>
                </a:lnTo>
                <a:lnTo>
                  <a:pt x="2488" y="1716"/>
                </a:lnTo>
                <a:lnTo>
                  <a:pt x="2493" y="1696"/>
                </a:lnTo>
                <a:lnTo>
                  <a:pt x="2496" y="1682"/>
                </a:lnTo>
                <a:lnTo>
                  <a:pt x="2499" y="1667"/>
                </a:lnTo>
                <a:lnTo>
                  <a:pt x="2501" y="1648"/>
                </a:lnTo>
                <a:lnTo>
                  <a:pt x="2506" y="1600"/>
                </a:lnTo>
                <a:lnTo>
                  <a:pt x="2509" y="1568"/>
                </a:lnTo>
                <a:lnTo>
                  <a:pt x="2510" y="1531"/>
                </a:lnTo>
                <a:lnTo>
                  <a:pt x="2512" y="1492"/>
                </a:lnTo>
                <a:lnTo>
                  <a:pt x="2512" y="1453"/>
                </a:lnTo>
                <a:lnTo>
                  <a:pt x="2512" y="1352"/>
                </a:lnTo>
                <a:lnTo>
                  <a:pt x="2512" y="1313"/>
                </a:lnTo>
                <a:lnTo>
                  <a:pt x="2510" y="1275"/>
                </a:lnTo>
                <a:lnTo>
                  <a:pt x="2509" y="1239"/>
                </a:lnTo>
                <a:lnTo>
                  <a:pt x="2506" y="1206"/>
                </a:lnTo>
                <a:lnTo>
                  <a:pt x="2504" y="1179"/>
                </a:lnTo>
                <a:lnTo>
                  <a:pt x="2501" y="1158"/>
                </a:lnTo>
                <a:lnTo>
                  <a:pt x="2499" y="1140"/>
                </a:lnTo>
                <a:close/>
                <a:moveTo>
                  <a:pt x="1479" y="1690"/>
                </a:moveTo>
                <a:lnTo>
                  <a:pt x="1390" y="1690"/>
                </a:lnTo>
                <a:lnTo>
                  <a:pt x="1390" y="1179"/>
                </a:lnTo>
                <a:lnTo>
                  <a:pt x="1298" y="1179"/>
                </a:lnTo>
                <a:lnTo>
                  <a:pt x="1298" y="1095"/>
                </a:lnTo>
                <a:lnTo>
                  <a:pt x="1577" y="1095"/>
                </a:lnTo>
                <a:lnTo>
                  <a:pt x="1577" y="1179"/>
                </a:lnTo>
                <a:lnTo>
                  <a:pt x="1479" y="1179"/>
                </a:lnTo>
                <a:lnTo>
                  <a:pt x="1479" y="1690"/>
                </a:lnTo>
                <a:close/>
                <a:moveTo>
                  <a:pt x="1799" y="1690"/>
                </a:moveTo>
                <a:lnTo>
                  <a:pt x="1714" y="1690"/>
                </a:lnTo>
                <a:lnTo>
                  <a:pt x="1714" y="1641"/>
                </a:lnTo>
                <a:lnTo>
                  <a:pt x="1702" y="1654"/>
                </a:lnTo>
                <a:lnTo>
                  <a:pt x="1691" y="1666"/>
                </a:lnTo>
                <a:lnTo>
                  <a:pt x="1680" y="1674"/>
                </a:lnTo>
                <a:lnTo>
                  <a:pt x="1669" y="1683"/>
                </a:lnTo>
                <a:lnTo>
                  <a:pt x="1659" y="1688"/>
                </a:lnTo>
                <a:lnTo>
                  <a:pt x="1648" y="1693"/>
                </a:lnTo>
                <a:lnTo>
                  <a:pt x="1643" y="1694"/>
                </a:lnTo>
                <a:lnTo>
                  <a:pt x="1637" y="1695"/>
                </a:lnTo>
                <a:lnTo>
                  <a:pt x="1625" y="1696"/>
                </a:lnTo>
                <a:lnTo>
                  <a:pt x="1617" y="1695"/>
                </a:lnTo>
                <a:lnTo>
                  <a:pt x="1608" y="1694"/>
                </a:lnTo>
                <a:lnTo>
                  <a:pt x="1604" y="1693"/>
                </a:lnTo>
                <a:lnTo>
                  <a:pt x="1601" y="1691"/>
                </a:lnTo>
                <a:lnTo>
                  <a:pt x="1593" y="1688"/>
                </a:lnTo>
                <a:lnTo>
                  <a:pt x="1587" y="1683"/>
                </a:lnTo>
                <a:lnTo>
                  <a:pt x="1581" y="1677"/>
                </a:lnTo>
                <a:lnTo>
                  <a:pt x="1577" y="1669"/>
                </a:lnTo>
                <a:lnTo>
                  <a:pt x="1575" y="1666"/>
                </a:lnTo>
                <a:lnTo>
                  <a:pt x="1573" y="1662"/>
                </a:lnTo>
                <a:lnTo>
                  <a:pt x="1571" y="1657"/>
                </a:lnTo>
                <a:lnTo>
                  <a:pt x="1570" y="1651"/>
                </a:lnTo>
                <a:lnTo>
                  <a:pt x="1566" y="1636"/>
                </a:lnTo>
                <a:lnTo>
                  <a:pt x="1565" y="1627"/>
                </a:lnTo>
                <a:lnTo>
                  <a:pt x="1565" y="1618"/>
                </a:lnTo>
                <a:lnTo>
                  <a:pt x="1564" y="1596"/>
                </a:lnTo>
                <a:lnTo>
                  <a:pt x="1564" y="1246"/>
                </a:lnTo>
                <a:lnTo>
                  <a:pt x="1648" y="1246"/>
                </a:lnTo>
                <a:lnTo>
                  <a:pt x="1648" y="1574"/>
                </a:lnTo>
                <a:lnTo>
                  <a:pt x="1648" y="1606"/>
                </a:lnTo>
                <a:lnTo>
                  <a:pt x="1650" y="1614"/>
                </a:lnTo>
                <a:lnTo>
                  <a:pt x="1651" y="1616"/>
                </a:lnTo>
                <a:lnTo>
                  <a:pt x="1654" y="1618"/>
                </a:lnTo>
                <a:lnTo>
                  <a:pt x="1656" y="1621"/>
                </a:lnTo>
                <a:lnTo>
                  <a:pt x="1659" y="1622"/>
                </a:lnTo>
                <a:lnTo>
                  <a:pt x="1662" y="1622"/>
                </a:lnTo>
                <a:lnTo>
                  <a:pt x="1666" y="1622"/>
                </a:lnTo>
                <a:lnTo>
                  <a:pt x="1672" y="1622"/>
                </a:lnTo>
                <a:lnTo>
                  <a:pt x="1677" y="1620"/>
                </a:lnTo>
                <a:lnTo>
                  <a:pt x="1684" y="1617"/>
                </a:lnTo>
                <a:lnTo>
                  <a:pt x="1690" y="1612"/>
                </a:lnTo>
                <a:lnTo>
                  <a:pt x="1696" y="1607"/>
                </a:lnTo>
                <a:lnTo>
                  <a:pt x="1702" y="1600"/>
                </a:lnTo>
                <a:lnTo>
                  <a:pt x="1714" y="1584"/>
                </a:lnTo>
                <a:lnTo>
                  <a:pt x="1714" y="1246"/>
                </a:lnTo>
                <a:lnTo>
                  <a:pt x="1799" y="1246"/>
                </a:lnTo>
                <a:lnTo>
                  <a:pt x="1799" y="1690"/>
                </a:lnTo>
                <a:close/>
                <a:moveTo>
                  <a:pt x="2104" y="1557"/>
                </a:moveTo>
                <a:lnTo>
                  <a:pt x="2104" y="1585"/>
                </a:lnTo>
                <a:lnTo>
                  <a:pt x="2103" y="1597"/>
                </a:lnTo>
                <a:lnTo>
                  <a:pt x="2102" y="1610"/>
                </a:lnTo>
                <a:lnTo>
                  <a:pt x="2099" y="1630"/>
                </a:lnTo>
                <a:lnTo>
                  <a:pt x="2098" y="1638"/>
                </a:lnTo>
                <a:lnTo>
                  <a:pt x="2096" y="1646"/>
                </a:lnTo>
                <a:lnTo>
                  <a:pt x="2093" y="1652"/>
                </a:lnTo>
                <a:lnTo>
                  <a:pt x="2091" y="1657"/>
                </a:lnTo>
                <a:lnTo>
                  <a:pt x="2086" y="1667"/>
                </a:lnTo>
                <a:lnTo>
                  <a:pt x="2078" y="1675"/>
                </a:lnTo>
                <a:lnTo>
                  <a:pt x="2071" y="1683"/>
                </a:lnTo>
                <a:lnTo>
                  <a:pt x="2066" y="1685"/>
                </a:lnTo>
                <a:lnTo>
                  <a:pt x="2062" y="1688"/>
                </a:lnTo>
                <a:lnTo>
                  <a:pt x="2052" y="1693"/>
                </a:lnTo>
                <a:lnTo>
                  <a:pt x="2041" y="1695"/>
                </a:lnTo>
                <a:lnTo>
                  <a:pt x="2030" y="1695"/>
                </a:lnTo>
                <a:lnTo>
                  <a:pt x="2019" y="1695"/>
                </a:lnTo>
                <a:lnTo>
                  <a:pt x="2014" y="1694"/>
                </a:lnTo>
                <a:lnTo>
                  <a:pt x="2008" y="1693"/>
                </a:lnTo>
                <a:lnTo>
                  <a:pt x="2003" y="1690"/>
                </a:lnTo>
                <a:lnTo>
                  <a:pt x="1998" y="1688"/>
                </a:lnTo>
                <a:lnTo>
                  <a:pt x="1987" y="1683"/>
                </a:lnTo>
                <a:lnTo>
                  <a:pt x="1982" y="1679"/>
                </a:lnTo>
                <a:lnTo>
                  <a:pt x="1977" y="1675"/>
                </a:lnTo>
                <a:lnTo>
                  <a:pt x="1966" y="1667"/>
                </a:lnTo>
                <a:lnTo>
                  <a:pt x="1956" y="1657"/>
                </a:lnTo>
                <a:lnTo>
                  <a:pt x="1945" y="1646"/>
                </a:lnTo>
                <a:lnTo>
                  <a:pt x="1945" y="1690"/>
                </a:lnTo>
                <a:lnTo>
                  <a:pt x="1865" y="1690"/>
                </a:lnTo>
                <a:lnTo>
                  <a:pt x="1865" y="1095"/>
                </a:lnTo>
                <a:lnTo>
                  <a:pt x="1945" y="1095"/>
                </a:lnTo>
                <a:lnTo>
                  <a:pt x="1945" y="1289"/>
                </a:lnTo>
                <a:lnTo>
                  <a:pt x="1954" y="1278"/>
                </a:lnTo>
                <a:lnTo>
                  <a:pt x="1964" y="1268"/>
                </a:lnTo>
                <a:lnTo>
                  <a:pt x="1976" y="1260"/>
                </a:lnTo>
                <a:lnTo>
                  <a:pt x="1985" y="1252"/>
                </a:lnTo>
                <a:lnTo>
                  <a:pt x="1997" y="1247"/>
                </a:lnTo>
                <a:lnTo>
                  <a:pt x="2003" y="1245"/>
                </a:lnTo>
                <a:lnTo>
                  <a:pt x="2008" y="1242"/>
                </a:lnTo>
                <a:lnTo>
                  <a:pt x="2013" y="1241"/>
                </a:lnTo>
                <a:lnTo>
                  <a:pt x="2019" y="1240"/>
                </a:lnTo>
                <a:lnTo>
                  <a:pt x="2030" y="1240"/>
                </a:lnTo>
                <a:lnTo>
                  <a:pt x="2041" y="1240"/>
                </a:lnTo>
                <a:lnTo>
                  <a:pt x="2052" y="1242"/>
                </a:lnTo>
                <a:lnTo>
                  <a:pt x="2057" y="1245"/>
                </a:lnTo>
                <a:lnTo>
                  <a:pt x="2061" y="1247"/>
                </a:lnTo>
                <a:lnTo>
                  <a:pt x="2066" y="1250"/>
                </a:lnTo>
                <a:lnTo>
                  <a:pt x="2070" y="1252"/>
                </a:lnTo>
                <a:lnTo>
                  <a:pt x="2073" y="1256"/>
                </a:lnTo>
                <a:lnTo>
                  <a:pt x="2077" y="1260"/>
                </a:lnTo>
                <a:lnTo>
                  <a:pt x="2081" y="1265"/>
                </a:lnTo>
                <a:lnTo>
                  <a:pt x="2084" y="1268"/>
                </a:lnTo>
                <a:lnTo>
                  <a:pt x="2089" y="1279"/>
                </a:lnTo>
                <a:lnTo>
                  <a:pt x="2094" y="1291"/>
                </a:lnTo>
                <a:lnTo>
                  <a:pt x="2098" y="1307"/>
                </a:lnTo>
                <a:lnTo>
                  <a:pt x="2099" y="1315"/>
                </a:lnTo>
                <a:lnTo>
                  <a:pt x="2102" y="1326"/>
                </a:lnTo>
                <a:lnTo>
                  <a:pt x="2104" y="1350"/>
                </a:lnTo>
                <a:lnTo>
                  <a:pt x="2104" y="1365"/>
                </a:lnTo>
                <a:lnTo>
                  <a:pt x="2104" y="1380"/>
                </a:lnTo>
                <a:lnTo>
                  <a:pt x="2104" y="1557"/>
                </a:lnTo>
                <a:close/>
                <a:moveTo>
                  <a:pt x="2281" y="1622"/>
                </a:moveTo>
                <a:lnTo>
                  <a:pt x="2289" y="1622"/>
                </a:lnTo>
                <a:lnTo>
                  <a:pt x="2295" y="1621"/>
                </a:lnTo>
                <a:lnTo>
                  <a:pt x="2300" y="1618"/>
                </a:lnTo>
                <a:lnTo>
                  <a:pt x="2305" y="1615"/>
                </a:lnTo>
                <a:lnTo>
                  <a:pt x="2307" y="1612"/>
                </a:lnTo>
                <a:lnTo>
                  <a:pt x="2308" y="1610"/>
                </a:lnTo>
                <a:lnTo>
                  <a:pt x="2312" y="1605"/>
                </a:lnTo>
                <a:lnTo>
                  <a:pt x="2315" y="1597"/>
                </a:lnTo>
                <a:lnTo>
                  <a:pt x="2317" y="1590"/>
                </a:lnTo>
                <a:lnTo>
                  <a:pt x="2317" y="1584"/>
                </a:lnTo>
                <a:lnTo>
                  <a:pt x="2317" y="1573"/>
                </a:lnTo>
                <a:lnTo>
                  <a:pt x="2317" y="1534"/>
                </a:lnTo>
                <a:lnTo>
                  <a:pt x="2401" y="1534"/>
                </a:lnTo>
                <a:lnTo>
                  <a:pt x="2401" y="1547"/>
                </a:lnTo>
                <a:lnTo>
                  <a:pt x="2401" y="1565"/>
                </a:lnTo>
                <a:lnTo>
                  <a:pt x="2401" y="1580"/>
                </a:lnTo>
                <a:lnTo>
                  <a:pt x="2399" y="1600"/>
                </a:lnTo>
                <a:lnTo>
                  <a:pt x="2396" y="1612"/>
                </a:lnTo>
                <a:lnTo>
                  <a:pt x="2392" y="1625"/>
                </a:lnTo>
                <a:lnTo>
                  <a:pt x="2386" y="1637"/>
                </a:lnTo>
                <a:lnTo>
                  <a:pt x="2384" y="1642"/>
                </a:lnTo>
                <a:lnTo>
                  <a:pt x="2380" y="1647"/>
                </a:lnTo>
                <a:lnTo>
                  <a:pt x="2376" y="1653"/>
                </a:lnTo>
                <a:lnTo>
                  <a:pt x="2371" y="1659"/>
                </a:lnTo>
                <a:lnTo>
                  <a:pt x="2362" y="1668"/>
                </a:lnTo>
                <a:lnTo>
                  <a:pt x="2357" y="1673"/>
                </a:lnTo>
                <a:lnTo>
                  <a:pt x="2350" y="1677"/>
                </a:lnTo>
                <a:lnTo>
                  <a:pt x="2339" y="1684"/>
                </a:lnTo>
                <a:lnTo>
                  <a:pt x="2327" y="1689"/>
                </a:lnTo>
                <a:lnTo>
                  <a:pt x="2319" y="1690"/>
                </a:lnTo>
                <a:lnTo>
                  <a:pt x="2313" y="1693"/>
                </a:lnTo>
                <a:lnTo>
                  <a:pt x="2306" y="1694"/>
                </a:lnTo>
                <a:lnTo>
                  <a:pt x="2298" y="1695"/>
                </a:lnTo>
                <a:lnTo>
                  <a:pt x="2291" y="1695"/>
                </a:lnTo>
                <a:lnTo>
                  <a:pt x="2284" y="1695"/>
                </a:lnTo>
                <a:lnTo>
                  <a:pt x="2268" y="1695"/>
                </a:lnTo>
                <a:lnTo>
                  <a:pt x="2254" y="1693"/>
                </a:lnTo>
                <a:lnTo>
                  <a:pt x="2240" y="1689"/>
                </a:lnTo>
                <a:lnTo>
                  <a:pt x="2228" y="1684"/>
                </a:lnTo>
                <a:lnTo>
                  <a:pt x="2222" y="1682"/>
                </a:lnTo>
                <a:lnTo>
                  <a:pt x="2216" y="1678"/>
                </a:lnTo>
                <a:lnTo>
                  <a:pt x="2204" y="1670"/>
                </a:lnTo>
                <a:lnTo>
                  <a:pt x="2199" y="1666"/>
                </a:lnTo>
                <a:lnTo>
                  <a:pt x="2195" y="1661"/>
                </a:lnTo>
                <a:lnTo>
                  <a:pt x="2186" y="1651"/>
                </a:lnTo>
                <a:lnTo>
                  <a:pt x="2180" y="1641"/>
                </a:lnTo>
                <a:lnTo>
                  <a:pt x="2175" y="1631"/>
                </a:lnTo>
                <a:lnTo>
                  <a:pt x="2172" y="1626"/>
                </a:lnTo>
                <a:lnTo>
                  <a:pt x="2170" y="1621"/>
                </a:lnTo>
                <a:lnTo>
                  <a:pt x="2165" y="1609"/>
                </a:lnTo>
                <a:lnTo>
                  <a:pt x="2162" y="1595"/>
                </a:lnTo>
                <a:lnTo>
                  <a:pt x="2160" y="1580"/>
                </a:lnTo>
                <a:lnTo>
                  <a:pt x="2159" y="1565"/>
                </a:lnTo>
                <a:lnTo>
                  <a:pt x="2157" y="1548"/>
                </a:lnTo>
                <a:lnTo>
                  <a:pt x="2157" y="1393"/>
                </a:lnTo>
                <a:lnTo>
                  <a:pt x="2159" y="1376"/>
                </a:lnTo>
                <a:lnTo>
                  <a:pt x="2160" y="1359"/>
                </a:lnTo>
                <a:lnTo>
                  <a:pt x="2162" y="1344"/>
                </a:lnTo>
                <a:lnTo>
                  <a:pt x="2165" y="1330"/>
                </a:lnTo>
                <a:lnTo>
                  <a:pt x="2169" y="1318"/>
                </a:lnTo>
                <a:lnTo>
                  <a:pt x="2173" y="1305"/>
                </a:lnTo>
                <a:lnTo>
                  <a:pt x="2178" y="1296"/>
                </a:lnTo>
                <a:lnTo>
                  <a:pt x="2185" y="1287"/>
                </a:lnTo>
                <a:lnTo>
                  <a:pt x="2195" y="1276"/>
                </a:lnTo>
                <a:lnTo>
                  <a:pt x="2198" y="1271"/>
                </a:lnTo>
                <a:lnTo>
                  <a:pt x="2204" y="1266"/>
                </a:lnTo>
                <a:lnTo>
                  <a:pt x="2214" y="1258"/>
                </a:lnTo>
                <a:lnTo>
                  <a:pt x="2227" y="1252"/>
                </a:lnTo>
                <a:lnTo>
                  <a:pt x="2239" y="1246"/>
                </a:lnTo>
                <a:lnTo>
                  <a:pt x="2245" y="1245"/>
                </a:lnTo>
                <a:lnTo>
                  <a:pt x="2251" y="1242"/>
                </a:lnTo>
                <a:lnTo>
                  <a:pt x="2259" y="1241"/>
                </a:lnTo>
                <a:lnTo>
                  <a:pt x="2266" y="1241"/>
                </a:lnTo>
                <a:lnTo>
                  <a:pt x="2274" y="1240"/>
                </a:lnTo>
                <a:lnTo>
                  <a:pt x="2281" y="1240"/>
                </a:lnTo>
                <a:lnTo>
                  <a:pt x="2296" y="1241"/>
                </a:lnTo>
                <a:lnTo>
                  <a:pt x="2310" y="1242"/>
                </a:lnTo>
                <a:lnTo>
                  <a:pt x="2316" y="1245"/>
                </a:lnTo>
                <a:lnTo>
                  <a:pt x="2323" y="1246"/>
                </a:lnTo>
                <a:lnTo>
                  <a:pt x="2329" y="1249"/>
                </a:lnTo>
                <a:lnTo>
                  <a:pt x="2336" y="1252"/>
                </a:lnTo>
                <a:lnTo>
                  <a:pt x="2341" y="1255"/>
                </a:lnTo>
                <a:lnTo>
                  <a:pt x="2347" y="1258"/>
                </a:lnTo>
                <a:lnTo>
                  <a:pt x="2352" y="1262"/>
                </a:lnTo>
                <a:lnTo>
                  <a:pt x="2357" y="1266"/>
                </a:lnTo>
                <a:lnTo>
                  <a:pt x="2366" y="1276"/>
                </a:lnTo>
                <a:lnTo>
                  <a:pt x="2371" y="1281"/>
                </a:lnTo>
                <a:lnTo>
                  <a:pt x="2375" y="1287"/>
                </a:lnTo>
                <a:lnTo>
                  <a:pt x="2381" y="1296"/>
                </a:lnTo>
                <a:lnTo>
                  <a:pt x="2386" y="1305"/>
                </a:lnTo>
                <a:lnTo>
                  <a:pt x="2391" y="1317"/>
                </a:lnTo>
                <a:lnTo>
                  <a:pt x="2395" y="1329"/>
                </a:lnTo>
                <a:lnTo>
                  <a:pt x="2396" y="1336"/>
                </a:lnTo>
                <a:lnTo>
                  <a:pt x="2397" y="1343"/>
                </a:lnTo>
                <a:lnTo>
                  <a:pt x="2400" y="1357"/>
                </a:lnTo>
                <a:lnTo>
                  <a:pt x="2401" y="1374"/>
                </a:lnTo>
                <a:lnTo>
                  <a:pt x="2402" y="1391"/>
                </a:lnTo>
                <a:lnTo>
                  <a:pt x="2402" y="1481"/>
                </a:lnTo>
                <a:lnTo>
                  <a:pt x="2242" y="1481"/>
                </a:lnTo>
                <a:lnTo>
                  <a:pt x="2242" y="1562"/>
                </a:lnTo>
                <a:lnTo>
                  <a:pt x="2243" y="1575"/>
                </a:lnTo>
                <a:lnTo>
                  <a:pt x="2244" y="1588"/>
                </a:lnTo>
                <a:lnTo>
                  <a:pt x="2245" y="1594"/>
                </a:lnTo>
                <a:lnTo>
                  <a:pt x="2246" y="1599"/>
                </a:lnTo>
                <a:lnTo>
                  <a:pt x="2249" y="1602"/>
                </a:lnTo>
                <a:lnTo>
                  <a:pt x="2251" y="1607"/>
                </a:lnTo>
                <a:lnTo>
                  <a:pt x="2256" y="1614"/>
                </a:lnTo>
                <a:lnTo>
                  <a:pt x="2264" y="1618"/>
                </a:lnTo>
                <a:lnTo>
                  <a:pt x="2268" y="1621"/>
                </a:lnTo>
                <a:lnTo>
                  <a:pt x="2271" y="1621"/>
                </a:lnTo>
                <a:lnTo>
                  <a:pt x="2281" y="1622"/>
                </a:lnTo>
                <a:close/>
                <a:moveTo>
                  <a:pt x="0" y="0"/>
                </a:moveTo>
                <a:lnTo>
                  <a:pt x="700" y="0"/>
                </a:lnTo>
                <a:lnTo>
                  <a:pt x="1401" y="0"/>
                </a:lnTo>
                <a:lnTo>
                  <a:pt x="2103" y="0"/>
                </a:lnTo>
                <a:lnTo>
                  <a:pt x="2804" y="0"/>
                </a:lnTo>
                <a:lnTo>
                  <a:pt x="2804" y="702"/>
                </a:lnTo>
                <a:lnTo>
                  <a:pt x="2804" y="1403"/>
                </a:lnTo>
                <a:lnTo>
                  <a:pt x="2804" y="2105"/>
                </a:lnTo>
                <a:lnTo>
                  <a:pt x="2804" y="2806"/>
                </a:lnTo>
                <a:lnTo>
                  <a:pt x="2103" y="2806"/>
                </a:lnTo>
                <a:lnTo>
                  <a:pt x="1401" y="2806"/>
                </a:lnTo>
                <a:lnTo>
                  <a:pt x="700" y="2806"/>
                </a:lnTo>
                <a:lnTo>
                  <a:pt x="0" y="2806"/>
                </a:lnTo>
                <a:lnTo>
                  <a:pt x="0" y="2105"/>
                </a:lnTo>
                <a:lnTo>
                  <a:pt x="0" y="1403"/>
                </a:lnTo>
                <a:lnTo>
                  <a:pt x="0" y="702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0201" tIns="40100" rIns="80201" bIns="40100" numCol="1" anchor="t" anchorCtr="0" compatLnSpc="1">
            <a:prstTxWarp prst="textNoShape">
              <a:avLst/>
            </a:prstTxWarp>
          </a:bodyPr>
          <a:lstStyle/>
          <a:p>
            <a:endParaRPr lang="en-GB" sz="1579"/>
          </a:p>
        </p:txBody>
      </p:sp>
      <p:sp>
        <p:nvSpPr>
          <p:cNvPr id="10" name="Freeform 11">
            <a:hlinkClick r:id="rId5" tooltip="Instagram"/>
          </p:cNvPr>
          <p:cNvSpPr>
            <a:spLocks noChangeAspect="1" noEditPoints="1"/>
          </p:cNvSpPr>
          <p:nvPr/>
        </p:nvSpPr>
        <p:spPr bwMode="auto">
          <a:xfrm>
            <a:off x="5851984" y="684481"/>
            <a:ext cx="252600" cy="317600"/>
          </a:xfrm>
          <a:custGeom>
            <a:avLst/>
            <a:gdLst>
              <a:gd name="T0" fmla="*/ 1898 w 2806"/>
              <a:gd name="T1" fmla="*/ 704 h 2806"/>
              <a:gd name="T2" fmla="*/ 2038 w 2806"/>
              <a:gd name="T3" fmla="*/ 791 h 2806"/>
              <a:gd name="T4" fmla="*/ 2114 w 2806"/>
              <a:gd name="T5" fmla="*/ 964 h 2806"/>
              <a:gd name="T6" fmla="*/ 2126 w 2806"/>
              <a:gd name="T7" fmla="*/ 1699 h 2806"/>
              <a:gd name="T8" fmla="*/ 2072 w 2806"/>
              <a:gd name="T9" fmla="*/ 1967 h 2806"/>
              <a:gd name="T10" fmla="*/ 1954 w 2806"/>
              <a:gd name="T11" fmla="*/ 2080 h 2806"/>
              <a:gd name="T12" fmla="*/ 1699 w 2806"/>
              <a:gd name="T13" fmla="*/ 2126 h 2806"/>
              <a:gd name="T14" fmla="*/ 943 w 2806"/>
              <a:gd name="T15" fmla="*/ 2111 h 2806"/>
              <a:gd name="T16" fmla="*/ 792 w 2806"/>
              <a:gd name="T17" fmla="*/ 2038 h 2806"/>
              <a:gd name="T18" fmla="*/ 700 w 2806"/>
              <a:gd name="T19" fmla="*/ 1882 h 2806"/>
              <a:gd name="T20" fmla="*/ 678 w 2806"/>
              <a:gd name="T21" fmla="*/ 1210 h 2806"/>
              <a:gd name="T22" fmla="*/ 720 w 2806"/>
              <a:gd name="T23" fmla="*/ 866 h 2806"/>
              <a:gd name="T24" fmla="*/ 826 w 2806"/>
              <a:gd name="T25" fmla="*/ 741 h 2806"/>
              <a:gd name="T26" fmla="*/ 1029 w 2806"/>
              <a:gd name="T27" fmla="*/ 684 h 2806"/>
              <a:gd name="T28" fmla="*/ 1005 w 2806"/>
              <a:gd name="T29" fmla="*/ 526 h 2806"/>
              <a:gd name="T30" fmla="*/ 762 w 2806"/>
              <a:gd name="T31" fmla="*/ 594 h 2806"/>
              <a:gd name="T32" fmla="*/ 594 w 2806"/>
              <a:gd name="T33" fmla="*/ 761 h 2806"/>
              <a:gd name="T34" fmla="*/ 523 w 2806"/>
              <a:gd name="T35" fmla="*/ 1038 h 2806"/>
              <a:gd name="T36" fmla="*/ 533 w 2806"/>
              <a:gd name="T37" fmla="*/ 1862 h 2806"/>
              <a:gd name="T38" fmla="*/ 619 w 2806"/>
              <a:gd name="T39" fmla="*/ 2084 h 2806"/>
              <a:gd name="T40" fmla="*/ 782 w 2806"/>
              <a:gd name="T41" fmla="*/ 2222 h 2806"/>
              <a:gd name="T42" fmla="*/ 1101 w 2806"/>
              <a:gd name="T43" fmla="*/ 2284 h 2806"/>
              <a:gd name="T44" fmla="*/ 1889 w 2806"/>
              <a:gd name="T45" fmla="*/ 2268 h 2806"/>
              <a:gd name="T46" fmla="*/ 2092 w 2806"/>
              <a:gd name="T47" fmla="*/ 2180 h 2806"/>
              <a:gd name="T48" fmla="*/ 2241 w 2806"/>
              <a:gd name="T49" fmla="*/ 1982 h 2806"/>
              <a:gd name="T50" fmla="*/ 2288 w 2806"/>
              <a:gd name="T51" fmla="*/ 1548 h 2806"/>
              <a:gd name="T52" fmla="*/ 2259 w 2806"/>
              <a:gd name="T53" fmla="*/ 880 h 2806"/>
              <a:gd name="T54" fmla="*/ 2165 w 2806"/>
              <a:gd name="T55" fmla="*/ 694 h 2806"/>
              <a:gd name="T56" fmla="*/ 1961 w 2806"/>
              <a:gd name="T57" fmla="*/ 557 h 2806"/>
              <a:gd name="T58" fmla="*/ 1403 w 2806"/>
              <a:gd name="T59" fmla="*/ 518 h 2806"/>
              <a:gd name="T60" fmla="*/ 1168 w 2806"/>
              <a:gd name="T61" fmla="*/ 1015 h 2806"/>
              <a:gd name="T62" fmla="*/ 994 w 2806"/>
              <a:gd name="T63" fmla="*/ 1206 h 2806"/>
              <a:gd name="T64" fmla="*/ 951 w 2806"/>
              <a:gd name="T65" fmla="*/ 1449 h 2806"/>
              <a:gd name="T66" fmla="*/ 1053 w 2806"/>
              <a:gd name="T67" fmla="*/ 1691 h 2806"/>
              <a:gd name="T68" fmla="*/ 1268 w 2806"/>
              <a:gd name="T69" fmla="*/ 1836 h 2806"/>
              <a:gd name="T70" fmla="*/ 1517 w 2806"/>
              <a:gd name="T71" fmla="*/ 1842 h 2806"/>
              <a:gd name="T72" fmla="*/ 1740 w 2806"/>
              <a:gd name="T73" fmla="*/ 1709 h 2806"/>
              <a:gd name="T74" fmla="*/ 1848 w 2806"/>
              <a:gd name="T75" fmla="*/ 1495 h 2806"/>
              <a:gd name="T76" fmla="*/ 1821 w 2806"/>
              <a:gd name="T77" fmla="*/ 1226 h 2806"/>
              <a:gd name="T78" fmla="*/ 1657 w 2806"/>
              <a:gd name="T79" fmla="*/ 1027 h 2806"/>
              <a:gd name="T80" fmla="*/ 1427 w 2806"/>
              <a:gd name="T81" fmla="*/ 949 h 2806"/>
              <a:gd name="T82" fmla="*/ 1262 w 2806"/>
              <a:gd name="T83" fmla="*/ 1662 h 2806"/>
              <a:gd name="T84" fmla="*/ 1143 w 2806"/>
              <a:gd name="T85" fmla="*/ 1543 h 2806"/>
              <a:gd name="T86" fmla="*/ 1110 w 2806"/>
              <a:gd name="T87" fmla="*/ 1373 h 2806"/>
              <a:gd name="T88" fmla="*/ 1175 w 2806"/>
              <a:gd name="T89" fmla="*/ 1215 h 2806"/>
              <a:gd name="T90" fmla="*/ 1315 w 2806"/>
              <a:gd name="T91" fmla="*/ 1121 h 2806"/>
              <a:gd name="T92" fmla="*/ 1491 w 2806"/>
              <a:gd name="T93" fmla="*/ 1121 h 2806"/>
              <a:gd name="T94" fmla="*/ 1631 w 2806"/>
              <a:gd name="T95" fmla="*/ 1215 h 2806"/>
              <a:gd name="T96" fmla="*/ 1696 w 2806"/>
              <a:gd name="T97" fmla="*/ 1373 h 2806"/>
              <a:gd name="T98" fmla="*/ 1662 w 2806"/>
              <a:gd name="T99" fmla="*/ 1543 h 2806"/>
              <a:gd name="T100" fmla="*/ 1544 w 2806"/>
              <a:gd name="T101" fmla="*/ 1662 h 2806"/>
              <a:gd name="T102" fmla="*/ 1769 w 2806"/>
              <a:gd name="T103" fmla="*/ 921 h 2806"/>
              <a:gd name="T104" fmla="*/ 1834 w 2806"/>
              <a:gd name="T105" fmla="*/ 833 h 2806"/>
              <a:gd name="T106" fmla="*/ 1946 w 2806"/>
              <a:gd name="T107" fmla="*/ 852 h 2806"/>
              <a:gd name="T108" fmla="*/ 1976 w 2806"/>
              <a:gd name="T109" fmla="*/ 963 h 2806"/>
              <a:gd name="T110" fmla="*/ 1897 w 2806"/>
              <a:gd name="T111" fmla="*/ 1034 h 2806"/>
              <a:gd name="T112" fmla="*/ 1793 w 2806"/>
              <a:gd name="T113" fmla="*/ 998 h 2806"/>
              <a:gd name="T114" fmla="*/ 2806 w 2806"/>
              <a:gd name="T115" fmla="*/ 0 h 2806"/>
              <a:gd name="T116" fmla="*/ 0 w 2806"/>
              <a:gd name="T117" fmla="*/ 0 h 28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806" h="2806">
                <a:moveTo>
                  <a:pt x="1403" y="678"/>
                </a:moveTo>
                <a:lnTo>
                  <a:pt x="1545" y="678"/>
                </a:lnTo>
                <a:lnTo>
                  <a:pt x="1595" y="678"/>
                </a:lnTo>
                <a:lnTo>
                  <a:pt x="1636" y="679"/>
                </a:lnTo>
                <a:lnTo>
                  <a:pt x="1699" y="681"/>
                </a:lnTo>
                <a:lnTo>
                  <a:pt x="1761" y="683"/>
                </a:lnTo>
                <a:lnTo>
                  <a:pt x="1790" y="685"/>
                </a:lnTo>
                <a:lnTo>
                  <a:pt x="1818" y="688"/>
                </a:lnTo>
                <a:lnTo>
                  <a:pt x="1842" y="692"/>
                </a:lnTo>
                <a:lnTo>
                  <a:pt x="1863" y="695"/>
                </a:lnTo>
                <a:lnTo>
                  <a:pt x="1882" y="699"/>
                </a:lnTo>
                <a:lnTo>
                  <a:pt x="1898" y="704"/>
                </a:lnTo>
                <a:lnTo>
                  <a:pt x="1912" y="709"/>
                </a:lnTo>
                <a:lnTo>
                  <a:pt x="1925" y="714"/>
                </a:lnTo>
                <a:lnTo>
                  <a:pt x="1940" y="720"/>
                </a:lnTo>
                <a:lnTo>
                  <a:pt x="1954" y="726"/>
                </a:lnTo>
                <a:lnTo>
                  <a:pt x="1967" y="734"/>
                </a:lnTo>
                <a:lnTo>
                  <a:pt x="1980" y="741"/>
                </a:lnTo>
                <a:lnTo>
                  <a:pt x="1992" y="750"/>
                </a:lnTo>
                <a:lnTo>
                  <a:pt x="2003" y="758"/>
                </a:lnTo>
                <a:lnTo>
                  <a:pt x="2009" y="763"/>
                </a:lnTo>
                <a:lnTo>
                  <a:pt x="2014" y="768"/>
                </a:lnTo>
                <a:lnTo>
                  <a:pt x="2027" y="779"/>
                </a:lnTo>
                <a:lnTo>
                  <a:pt x="2038" y="791"/>
                </a:lnTo>
                <a:lnTo>
                  <a:pt x="2048" y="803"/>
                </a:lnTo>
                <a:lnTo>
                  <a:pt x="2056" y="814"/>
                </a:lnTo>
                <a:lnTo>
                  <a:pt x="2065" y="827"/>
                </a:lnTo>
                <a:lnTo>
                  <a:pt x="2072" y="839"/>
                </a:lnTo>
                <a:lnTo>
                  <a:pt x="2080" y="852"/>
                </a:lnTo>
                <a:lnTo>
                  <a:pt x="2086" y="866"/>
                </a:lnTo>
                <a:lnTo>
                  <a:pt x="2092" y="881"/>
                </a:lnTo>
                <a:lnTo>
                  <a:pt x="2097" y="893"/>
                </a:lnTo>
                <a:lnTo>
                  <a:pt x="2102" y="908"/>
                </a:lnTo>
                <a:lnTo>
                  <a:pt x="2106" y="924"/>
                </a:lnTo>
                <a:lnTo>
                  <a:pt x="2111" y="943"/>
                </a:lnTo>
                <a:lnTo>
                  <a:pt x="2114" y="964"/>
                </a:lnTo>
                <a:lnTo>
                  <a:pt x="2118" y="987"/>
                </a:lnTo>
                <a:lnTo>
                  <a:pt x="2121" y="1015"/>
                </a:lnTo>
                <a:lnTo>
                  <a:pt x="2122" y="1029"/>
                </a:lnTo>
                <a:lnTo>
                  <a:pt x="2123" y="1046"/>
                </a:lnTo>
                <a:lnTo>
                  <a:pt x="2126" y="1107"/>
                </a:lnTo>
                <a:lnTo>
                  <a:pt x="2127" y="1170"/>
                </a:lnTo>
                <a:lnTo>
                  <a:pt x="2128" y="1261"/>
                </a:lnTo>
                <a:lnTo>
                  <a:pt x="2128" y="1403"/>
                </a:lnTo>
                <a:lnTo>
                  <a:pt x="2128" y="1545"/>
                </a:lnTo>
                <a:lnTo>
                  <a:pt x="2128" y="1595"/>
                </a:lnTo>
                <a:lnTo>
                  <a:pt x="2127" y="1636"/>
                </a:lnTo>
                <a:lnTo>
                  <a:pt x="2126" y="1699"/>
                </a:lnTo>
                <a:lnTo>
                  <a:pt x="2123" y="1761"/>
                </a:lnTo>
                <a:lnTo>
                  <a:pt x="2121" y="1790"/>
                </a:lnTo>
                <a:lnTo>
                  <a:pt x="2118" y="1818"/>
                </a:lnTo>
                <a:lnTo>
                  <a:pt x="2114" y="1842"/>
                </a:lnTo>
                <a:lnTo>
                  <a:pt x="2111" y="1863"/>
                </a:lnTo>
                <a:lnTo>
                  <a:pt x="2106" y="1882"/>
                </a:lnTo>
                <a:lnTo>
                  <a:pt x="2102" y="1898"/>
                </a:lnTo>
                <a:lnTo>
                  <a:pt x="2097" y="1912"/>
                </a:lnTo>
                <a:lnTo>
                  <a:pt x="2092" y="1924"/>
                </a:lnTo>
                <a:lnTo>
                  <a:pt x="2086" y="1940"/>
                </a:lnTo>
                <a:lnTo>
                  <a:pt x="2080" y="1954"/>
                </a:lnTo>
                <a:lnTo>
                  <a:pt x="2072" y="1967"/>
                </a:lnTo>
                <a:lnTo>
                  <a:pt x="2065" y="1980"/>
                </a:lnTo>
                <a:lnTo>
                  <a:pt x="2056" y="1991"/>
                </a:lnTo>
                <a:lnTo>
                  <a:pt x="2048" y="2003"/>
                </a:lnTo>
                <a:lnTo>
                  <a:pt x="2043" y="2009"/>
                </a:lnTo>
                <a:lnTo>
                  <a:pt x="2038" y="2014"/>
                </a:lnTo>
                <a:lnTo>
                  <a:pt x="2027" y="2027"/>
                </a:lnTo>
                <a:lnTo>
                  <a:pt x="2014" y="2038"/>
                </a:lnTo>
                <a:lnTo>
                  <a:pt x="2003" y="2048"/>
                </a:lnTo>
                <a:lnTo>
                  <a:pt x="1992" y="2056"/>
                </a:lnTo>
                <a:lnTo>
                  <a:pt x="1980" y="2065"/>
                </a:lnTo>
                <a:lnTo>
                  <a:pt x="1967" y="2072"/>
                </a:lnTo>
                <a:lnTo>
                  <a:pt x="1954" y="2080"/>
                </a:lnTo>
                <a:lnTo>
                  <a:pt x="1940" y="2086"/>
                </a:lnTo>
                <a:lnTo>
                  <a:pt x="1925" y="2092"/>
                </a:lnTo>
                <a:lnTo>
                  <a:pt x="1912" y="2097"/>
                </a:lnTo>
                <a:lnTo>
                  <a:pt x="1898" y="2102"/>
                </a:lnTo>
                <a:lnTo>
                  <a:pt x="1882" y="2106"/>
                </a:lnTo>
                <a:lnTo>
                  <a:pt x="1863" y="2111"/>
                </a:lnTo>
                <a:lnTo>
                  <a:pt x="1842" y="2115"/>
                </a:lnTo>
                <a:lnTo>
                  <a:pt x="1818" y="2118"/>
                </a:lnTo>
                <a:lnTo>
                  <a:pt x="1790" y="2121"/>
                </a:lnTo>
                <a:lnTo>
                  <a:pt x="1777" y="2122"/>
                </a:lnTo>
                <a:lnTo>
                  <a:pt x="1761" y="2123"/>
                </a:lnTo>
                <a:lnTo>
                  <a:pt x="1699" y="2126"/>
                </a:lnTo>
                <a:lnTo>
                  <a:pt x="1636" y="2127"/>
                </a:lnTo>
                <a:lnTo>
                  <a:pt x="1545" y="2128"/>
                </a:lnTo>
                <a:lnTo>
                  <a:pt x="1403" y="2128"/>
                </a:lnTo>
                <a:lnTo>
                  <a:pt x="1261" y="2128"/>
                </a:lnTo>
                <a:lnTo>
                  <a:pt x="1211" y="2127"/>
                </a:lnTo>
                <a:lnTo>
                  <a:pt x="1170" y="2127"/>
                </a:lnTo>
                <a:lnTo>
                  <a:pt x="1107" y="2126"/>
                </a:lnTo>
                <a:lnTo>
                  <a:pt x="1045" y="2123"/>
                </a:lnTo>
                <a:lnTo>
                  <a:pt x="1015" y="2121"/>
                </a:lnTo>
                <a:lnTo>
                  <a:pt x="989" y="2118"/>
                </a:lnTo>
                <a:lnTo>
                  <a:pt x="964" y="2115"/>
                </a:lnTo>
                <a:lnTo>
                  <a:pt x="943" y="2111"/>
                </a:lnTo>
                <a:lnTo>
                  <a:pt x="924" y="2106"/>
                </a:lnTo>
                <a:lnTo>
                  <a:pt x="908" y="2102"/>
                </a:lnTo>
                <a:lnTo>
                  <a:pt x="893" y="2097"/>
                </a:lnTo>
                <a:lnTo>
                  <a:pt x="881" y="2092"/>
                </a:lnTo>
                <a:lnTo>
                  <a:pt x="866" y="2086"/>
                </a:lnTo>
                <a:lnTo>
                  <a:pt x="852" y="2080"/>
                </a:lnTo>
                <a:lnTo>
                  <a:pt x="839" y="2072"/>
                </a:lnTo>
                <a:lnTo>
                  <a:pt x="826" y="2065"/>
                </a:lnTo>
                <a:lnTo>
                  <a:pt x="814" y="2056"/>
                </a:lnTo>
                <a:lnTo>
                  <a:pt x="803" y="2048"/>
                </a:lnTo>
                <a:lnTo>
                  <a:pt x="797" y="2043"/>
                </a:lnTo>
                <a:lnTo>
                  <a:pt x="792" y="2038"/>
                </a:lnTo>
                <a:lnTo>
                  <a:pt x="779" y="2027"/>
                </a:lnTo>
                <a:lnTo>
                  <a:pt x="768" y="2014"/>
                </a:lnTo>
                <a:lnTo>
                  <a:pt x="758" y="2003"/>
                </a:lnTo>
                <a:lnTo>
                  <a:pt x="750" y="1991"/>
                </a:lnTo>
                <a:lnTo>
                  <a:pt x="741" y="1980"/>
                </a:lnTo>
                <a:lnTo>
                  <a:pt x="734" y="1967"/>
                </a:lnTo>
                <a:lnTo>
                  <a:pt x="726" y="1954"/>
                </a:lnTo>
                <a:lnTo>
                  <a:pt x="720" y="1940"/>
                </a:lnTo>
                <a:lnTo>
                  <a:pt x="714" y="1924"/>
                </a:lnTo>
                <a:lnTo>
                  <a:pt x="709" y="1912"/>
                </a:lnTo>
                <a:lnTo>
                  <a:pt x="704" y="1898"/>
                </a:lnTo>
                <a:lnTo>
                  <a:pt x="700" y="1882"/>
                </a:lnTo>
                <a:lnTo>
                  <a:pt x="695" y="1863"/>
                </a:lnTo>
                <a:lnTo>
                  <a:pt x="692" y="1842"/>
                </a:lnTo>
                <a:lnTo>
                  <a:pt x="688" y="1818"/>
                </a:lnTo>
                <a:lnTo>
                  <a:pt x="685" y="1790"/>
                </a:lnTo>
                <a:lnTo>
                  <a:pt x="684" y="1776"/>
                </a:lnTo>
                <a:lnTo>
                  <a:pt x="683" y="1761"/>
                </a:lnTo>
                <a:lnTo>
                  <a:pt x="680" y="1699"/>
                </a:lnTo>
                <a:lnTo>
                  <a:pt x="679" y="1636"/>
                </a:lnTo>
                <a:lnTo>
                  <a:pt x="678" y="1545"/>
                </a:lnTo>
                <a:lnTo>
                  <a:pt x="678" y="1403"/>
                </a:lnTo>
                <a:lnTo>
                  <a:pt x="678" y="1261"/>
                </a:lnTo>
                <a:lnTo>
                  <a:pt x="678" y="1210"/>
                </a:lnTo>
                <a:lnTo>
                  <a:pt x="679" y="1170"/>
                </a:lnTo>
                <a:lnTo>
                  <a:pt x="680" y="1107"/>
                </a:lnTo>
                <a:lnTo>
                  <a:pt x="683" y="1046"/>
                </a:lnTo>
                <a:lnTo>
                  <a:pt x="685" y="1015"/>
                </a:lnTo>
                <a:lnTo>
                  <a:pt x="688" y="987"/>
                </a:lnTo>
                <a:lnTo>
                  <a:pt x="692" y="964"/>
                </a:lnTo>
                <a:lnTo>
                  <a:pt x="695" y="943"/>
                </a:lnTo>
                <a:lnTo>
                  <a:pt x="700" y="924"/>
                </a:lnTo>
                <a:lnTo>
                  <a:pt x="704" y="908"/>
                </a:lnTo>
                <a:lnTo>
                  <a:pt x="709" y="893"/>
                </a:lnTo>
                <a:lnTo>
                  <a:pt x="714" y="881"/>
                </a:lnTo>
                <a:lnTo>
                  <a:pt x="720" y="866"/>
                </a:lnTo>
                <a:lnTo>
                  <a:pt x="726" y="852"/>
                </a:lnTo>
                <a:lnTo>
                  <a:pt x="734" y="839"/>
                </a:lnTo>
                <a:lnTo>
                  <a:pt x="741" y="827"/>
                </a:lnTo>
                <a:lnTo>
                  <a:pt x="750" y="814"/>
                </a:lnTo>
                <a:lnTo>
                  <a:pt x="758" y="803"/>
                </a:lnTo>
                <a:lnTo>
                  <a:pt x="763" y="797"/>
                </a:lnTo>
                <a:lnTo>
                  <a:pt x="768" y="791"/>
                </a:lnTo>
                <a:lnTo>
                  <a:pt x="779" y="779"/>
                </a:lnTo>
                <a:lnTo>
                  <a:pt x="792" y="768"/>
                </a:lnTo>
                <a:lnTo>
                  <a:pt x="803" y="758"/>
                </a:lnTo>
                <a:lnTo>
                  <a:pt x="814" y="750"/>
                </a:lnTo>
                <a:lnTo>
                  <a:pt x="826" y="741"/>
                </a:lnTo>
                <a:lnTo>
                  <a:pt x="839" y="734"/>
                </a:lnTo>
                <a:lnTo>
                  <a:pt x="852" y="726"/>
                </a:lnTo>
                <a:lnTo>
                  <a:pt x="866" y="720"/>
                </a:lnTo>
                <a:lnTo>
                  <a:pt x="881" y="714"/>
                </a:lnTo>
                <a:lnTo>
                  <a:pt x="893" y="709"/>
                </a:lnTo>
                <a:lnTo>
                  <a:pt x="908" y="704"/>
                </a:lnTo>
                <a:lnTo>
                  <a:pt x="924" y="699"/>
                </a:lnTo>
                <a:lnTo>
                  <a:pt x="943" y="695"/>
                </a:lnTo>
                <a:lnTo>
                  <a:pt x="964" y="692"/>
                </a:lnTo>
                <a:lnTo>
                  <a:pt x="989" y="688"/>
                </a:lnTo>
                <a:lnTo>
                  <a:pt x="1015" y="685"/>
                </a:lnTo>
                <a:lnTo>
                  <a:pt x="1029" y="684"/>
                </a:lnTo>
                <a:lnTo>
                  <a:pt x="1045" y="683"/>
                </a:lnTo>
                <a:lnTo>
                  <a:pt x="1107" y="681"/>
                </a:lnTo>
                <a:lnTo>
                  <a:pt x="1170" y="679"/>
                </a:lnTo>
                <a:lnTo>
                  <a:pt x="1261" y="678"/>
                </a:lnTo>
                <a:lnTo>
                  <a:pt x="1403" y="678"/>
                </a:lnTo>
                <a:close/>
                <a:moveTo>
                  <a:pt x="1403" y="518"/>
                </a:moveTo>
                <a:lnTo>
                  <a:pt x="1258" y="518"/>
                </a:lnTo>
                <a:lnTo>
                  <a:pt x="1208" y="520"/>
                </a:lnTo>
                <a:lnTo>
                  <a:pt x="1165" y="520"/>
                </a:lnTo>
                <a:lnTo>
                  <a:pt x="1101" y="521"/>
                </a:lnTo>
                <a:lnTo>
                  <a:pt x="1038" y="523"/>
                </a:lnTo>
                <a:lnTo>
                  <a:pt x="1005" y="526"/>
                </a:lnTo>
                <a:lnTo>
                  <a:pt x="972" y="530"/>
                </a:lnTo>
                <a:lnTo>
                  <a:pt x="944" y="533"/>
                </a:lnTo>
                <a:lnTo>
                  <a:pt x="917" y="538"/>
                </a:lnTo>
                <a:lnTo>
                  <a:pt x="892" y="543"/>
                </a:lnTo>
                <a:lnTo>
                  <a:pt x="880" y="547"/>
                </a:lnTo>
                <a:lnTo>
                  <a:pt x="867" y="549"/>
                </a:lnTo>
                <a:lnTo>
                  <a:pt x="845" y="557"/>
                </a:lnTo>
                <a:lnTo>
                  <a:pt x="824" y="565"/>
                </a:lnTo>
                <a:lnTo>
                  <a:pt x="802" y="574"/>
                </a:lnTo>
                <a:lnTo>
                  <a:pt x="782" y="584"/>
                </a:lnTo>
                <a:lnTo>
                  <a:pt x="772" y="589"/>
                </a:lnTo>
                <a:lnTo>
                  <a:pt x="762" y="594"/>
                </a:lnTo>
                <a:lnTo>
                  <a:pt x="742" y="606"/>
                </a:lnTo>
                <a:lnTo>
                  <a:pt x="723" y="619"/>
                </a:lnTo>
                <a:lnTo>
                  <a:pt x="714" y="626"/>
                </a:lnTo>
                <a:lnTo>
                  <a:pt x="704" y="633"/>
                </a:lnTo>
                <a:lnTo>
                  <a:pt x="685" y="650"/>
                </a:lnTo>
                <a:lnTo>
                  <a:pt x="667" y="667"/>
                </a:lnTo>
                <a:lnTo>
                  <a:pt x="650" y="685"/>
                </a:lnTo>
                <a:lnTo>
                  <a:pt x="633" y="704"/>
                </a:lnTo>
                <a:lnTo>
                  <a:pt x="619" y="723"/>
                </a:lnTo>
                <a:lnTo>
                  <a:pt x="612" y="732"/>
                </a:lnTo>
                <a:lnTo>
                  <a:pt x="606" y="742"/>
                </a:lnTo>
                <a:lnTo>
                  <a:pt x="594" y="761"/>
                </a:lnTo>
                <a:lnTo>
                  <a:pt x="584" y="782"/>
                </a:lnTo>
                <a:lnTo>
                  <a:pt x="574" y="802"/>
                </a:lnTo>
                <a:lnTo>
                  <a:pt x="565" y="824"/>
                </a:lnTo>
                <a:lnTo>
                  <a:pt x="557" y="845"/>
                </a:lnTo>
                <a:lnTo>
                  <a:pt x="551" y="867"/>
                </a:lnTo>
                <a:lnTo>
                  <a:pt x="543" y="891"/>
                </a:lnTo>
                <a:lnTo>
                  <a:pt x="541" y="904"/>
                </a:lnTo>
                <a:lnTo>
                  <a:pt x="538" y="917"/>
                </a:lnTo>
                <a:lnTo>
                  <a:pt x="533" y="944"/>
                </a:lnTo>
                <a:lnTo>
                  <a:pt x="530" y="973"/>
                </a:lnTo>
                <a:lnTo>
                  <a:pt x="526" y="1005"/>
                </a:lnTo>
                <a:lnTo>
                  <a:pt x="523" y="1038"/>
                </a:lnTo>
                <a:lnTo>
                  <a:pt x="521" y="1101"/>
                </a:lnTo>
                <a:lnTo>
                  <a:pt x="520" y="1166"/>
                </a:lnTo>
                <a:lnTo>
                  <a:pt x="518" y="1258"/>
                </a:lnTo>
                <a:lnTo>
                  <a:pt x="518" y="1403"/>
                </a:lnTo>
                <a:lnTo>
                  <a:pt x="518" y="1548"/>
                </a:lnTo>
                <a:lnTo>
                  <a:pt x="520" y="1599"/>
                </a:lnTo>
                <a:lnTo>
                  <a:pt x="520" y="1639"/>
                </a:lnTo>
                <a:lnTo>
                  <a:pt x="521" y="1705"/>
                </a:lnTo>
                <a:lnTo>
                  <a:pt x="523" y="1768"/>
                </a:lnTo>
                <a:lnTo>
                  <a:pt x="526" y="1801"/>
                </a:lnTo>
                <a:lnTo>
                  <a:pt x="530" y="1832"/>
                </a:lnTo>
                <a:lnTo>
                  <a:pt x="533" y="1862"/>
                </a:lnTo>
                <a:lnTo>
                  <a:pt x="538" y="1889"/>
                </a:lnTo>
                <a:lnTo>
                  <a:pt x="543" y="1914"/>
                </a:lnTo>
                <a:lnTo>
                  <a:pt x="547" y="1926"/>
                </a:lnTo>
                <a:lnTo>
                  <a:pt x="551" y="1938"/>
                </a:lnTo>
                <a:lnTo>
                  <a:pt x="557" y="1961"/>
                </a:lnTo>
                <a:lnTo>
                  <a:pt x="565" y="1982"/>
                </a:lnTo>
                <a:lnTo>
                  <a:pt x="574" y="2003"/>
                </a:lnTo>
                <a:lnTo>
                  <a:pt x="584" y="2024"/>
                </a:lnTo>
                <a:lnTo>
                  <a:pt x="589" y="2034"/>
                </a:lnTo>
                <a:lnTo>
                  <a:pt x="594" y="2044"/>
                </a:lnTo>
                <a:lnTo>
                  <a:pt x="606" y="2064"/>
                </a:lnTo>
                <a:lnTo>
                  <a:pt x="619" y="2084"/>
                </a:lnTo>
                <a:lnTo>
                  <a:pt x="626" y="2092"/>
                </a:lnTo>
                <a:lnTo>
                  <a:pt x="633" y="2102"/>
                </a:lnTo>
                <a:lnTo>
                  <a:pt x="641" y="2111"/>
                </a:lnTo>
                <a:lnTo>
                  <a:pt x="650" y="2121"/>
                </a:lnTo>
                <a:lnTo>
                  <a:pt x="667" y="2139"/>
                </a:lnTo>
                <a:lnTo>
                  <a:pt x="685" y="2157"/>
                </a:lnTo>
                <a:lnTo>
                  <a:pt x="704" y="2173"/>
                </a:lnTo>
                <a:lnTo>
                  <a:pt x="723" y="2186"/>
                </a:lnTo>
                <a:lnTo>
                  <a:pt x="732" y="2194"/>
                </a:lnTo>
                <a:lnTo>
                  <a:pt x="742" y="2200"/>
                </a:lnTo>
                <a:lnTo>
                  <a:pt x="762" y="2211"/>
                </a:lnTo>
                <a:lnTo>
                  <a:pt x="782" y="2222"/>
                </a:lnTo>
                <a:lnTo>
                  <a:pt x="802" y="2232"/>
                </a:lnTo>
                <a:lnTo>
                  <a:pt x="824" y="2241"/>
                </a:lnTo>
                <a:lnTo>
                  <a:pt x="845" y="2248"/>
                </a:lnTo>
                <a:lnTo>
                  <a:pt x="867" y="2256"/>
                </a:lnTo>
                <a:lnTo>
                  <a:pt x="892" y="2262"/>
                </a:lnTo>
                <a:lnTo>
                  <a:pt x="904" y="2265"/>
                </a:lnTo>
                <a:lnTo>
                  <a:pt x="917" y="2268"/>
                </a:lnTo>
                <a:lnTo>
                  <a:pt x="944" y="2273"/>
                </a:lnTo>
                <a:lnTo>
                  <a:pt x="972" y="2277"/>
                </a:lnTo>
                <a:lnTo>
                  <a:pt x="1005" y="2280"/>
                </a:lnTo>
                <a:lnTo>
                  <a:pt x="1038" y="2282"/>
                </a:lnTo>
                <a:lnTo>
                  <a:pt x="1101" y="2284"/>
                </a:lnTo>
                <a:lnTo>
                  <a:pt x="1165" y="2287"/>
                </a:lnTo>
                <a:lnTo>
                  <a:pt x="1258" y="2287"/>
                </a:lnTo>
                <a:lnTo>
                  <a:pt x="1403" y="2288"/>
                </a:lnTo>
                <a:lnTo>
                  <a:pt x="1548" y="2287"/>
                </a:lnTo>
                <a:lnTo>
                  <a:pt x="1599" y="2287"/>
                </a:lnTo>
                <a:lnTo>
                  <a:pt x="1641" y="2287"/>
                </a:lnTo>
                <a:lnTo>
                  <a:pt x="1705" y="2284"/>
                </a:lnTo>
                <a:lnTo>
                  <a:pt x="1768" y="2282"/>
                </a:lnTo>
                <a:lnTo>
                  <a:pt x="1801" y="2280"/>
                </a:lnTo>
                <a:lnTo>
                  <a:pt x="1834" y="2277"/>
                </a:lnTo>
                <a:lnTo>
                  <a:pt x="1862" y="2273"/>
                </a:lnTo>
                <a:lnTo>
                  <a:pt x="1889" y="2268"/>
                </a:lnTo>
                <a:lnTo>
                  <a:pt x="1914" y="2262"/>
                </a:lnTo>
                <a:lnTo>
                  <a:pt x="1926" y="2259"/>
                </a:lnTo>
                <a:lnTo>
                  <a:pt x="1939" y="2256"/>
                </a:lnTo>
                <a:lnTo>
                  <a:pt x="1961" y="2248"/>
                </a:lnTo>
                <a:lnTo>
                  <a:pt x="1982" y="2241"/>
                </a:lnTo>
                <a:lnTo>
                  <a:pt x="2004" y="2232"/>
                </a:lnTo>
                <a:lnTo>
                  <a:pt x="2024" y="2222"/>
                </a:lnTo>
                <a:lnTo>
                  <a:pt x="2034" y="2217"/>
                </a:lnTo>
                <a:lnTo>
                  <a:pt x="2044" y="2211"/>
                </a:lnTo>
                <a:lnTo>
                  <a:pt x="2064" y="2200"/>
                </a:lnTo>
                <a:lnTo>
                  <a:pt x="2084" y="2186"/>
                </a:lnTo>
                <a:lnTo>
                  <a:pt x="2092" y="2180"/>
                </a:lnTo>
                <a:lnTo>
                  <a:pt x="2102" y="2173"/>
                </a:lnTo>
                <a:lnTo>
                  <a:pt x="2121" y="2157"/>
                </a:lnTo>
                <a:lnTo>
                  <a:pt x="2139" y="2139"/>
                </a:lnTo>
                <a:lnTo>
                  <a:pt x="2157" y="2121"/>
                </a:lnTo>
                <a:lnTo>
                  <a:pt x="2173" y="2102"/>
                </a:lnTo>
                <a:lnTo>
                  <a:pt x="2187" y="2084"/>
                </a:lnTo>
                <a:lnTo>
                  <a:pt x="2194" y="2074"/>
                </a:lnTo>
                <a:lnTo>
                  <a:pt x="2200" y="2064"/>
                </a:lnTo>
                <a:lnTo>
                  <a:pt x="2212" y="2044"/>
                </a:lnTo>
                <a:lnTo>
                  <a:pt x="2222" y="2024"/>
                </a:lnTo>
                <a:lnTo>
                  <a:pt x="2232" y="2003"/>
                </a:lnTo>
                <a:lnTo>
                  <a:pt x="2241" y="1982"/>
                </a:lnTo>
                <a:lnTo>
                  <a:pt x="2249" y="1961"/>
                </a:lnTo>
                <a:lnTo>
                  <a:pt x="2256" y="1938"/>
                </a:lnTo>
                <a:lnTo>
                  <a:pt x="2263" y="1914"/>
                </a:lnTo>
                <a:lnTo>
                  <a:pt x="2265" y="1902"/>
                </a:lnTo>
                <a:lnTo>
                  <a:pt x="2268" y="1889"/>
                </a:lnTo>
                <a:lnTo>
                  <a:pt x="2273" y="1862"/>
                </a:lnTo>
                <a:lnTo>
                  <a:pt x="2277" y="1832"/>
                </a:lnTo>
                <a:lnTo>
                  <a:pt x="2280" y="1801"/>
                </a:lnTo>
                <a:lnTo>
                  <a:pt x="2281" y="1768"/>
                </a:lnTo>
                <a:lnTo>
                  <a:pt x="2285" y="1705"/>
                </a:lnTo>
                <a:lnTo>
                  <a:pt x="2286" y="1639"/>
                </a:lnTo>
                <a:lnTo>
                  <a:pt x="2288" y="1548"/>
                </a:lnTo>
                <a:lnTo>
                  <a:pt x="2288" y="1403"/>
                </a:lnTo>
                <a:lnTo>
                  <a:pt x="2288" y="1258"/>
                </a:lnTo>
                <a:lnTo>
                  <a:pt x="2286" y="1206"/>
                </a:lnTo>
                <a:lnTo>
                  <a:pt x="2286" y="1166"/>
                </a:lnTo>
                <a:lnTo>
                  <a:pt x="2285" y="1101"/>
                </a:lnTo>
                <a:lnTo>
                  <a:pt x="2281" y="1038"/>
                </a:lnTo>
                <a:lnTo>
                  <a:pt x="2280" y="1005"/>
                </a:lnTo>
                <a:lnTo>
                  <a:pt x="2277" y="973"/>
                </a:lnTo>
                <a:lnTo>
                  <a:pt x="2273" y="944"/>
                </a:lnTo>
                <a:lnTo>
                  <a:pt x="2268" y="917"/>
                </a:lnTo>
                <a:lnTo>
                  <a:pt x="2263" y="891"/>
                </a:lnTo>
                <a:lnTo>
                  <a:pt x="2259" y="880"/>
                </a:lnTo>
                <a:lnTo>
                  <a:pt x="2256" y="867"/>
                </a:lnTo>
                <a:lnTo>
                  <a:pt x="2249" y="845"/>
                </a:lnTo>
                <a:lnTo>
                  <a:pt x="2241" y="824"/>
                </a:lnTo>
                <a:lnTo>
                  <a:pt x="2232" y="802"/>
                </a:lnTo>
                <a:lnTo>
                  <a:pt x="2222" y="782"/>
                </a:lnTo>
                <a:lnTo>
                  <a:pt x="2217" y="771"/>
                </a:lnTo>
                <a:lnTo>
                  <a:pt x="2212" y="761"/>
                </a:lnTo>
                <a:lnTo>
                  <a:pt x="2200" y="742"/>
                </a:lnTo>
                <a:lnTo>
                  <a:pt x="2187" y="723"/>
                </a:lnTo>
                <a:lnTo>
                  <a:pt x="2180" y="714"/>
                </a:lnTo>
                <a:lnTo>
                  <a:pt x="2173" y="704"/>
                </a:lnTo>
                <a:lnTo>
                  <a:pt x="2165" y="694"/>
                </a:lnTo>
                <a:lnTo>
                  <a:pt x="2157" y="685"/>
                </a:lnTo>
                <a:lnTo>
                  <a:pt x="2139" y="667"/>
                </a:lnTo>
                <a:lnTo>
                  <a:pt x="2121" y="650"/>
                </a:lnTo>
                <a:lnTo>
                  <a:pt x="2102" y="633"/>
                </a:lnTo>
                <a:lnTo>
                  <a:pt x="2084" y="619"/>
                </a:lnTo>
                <a:lnTo>
                  <a:pt x="2074" y="612"/>
                </a:lnTo>
                <a:lnTo>
                  <a:pt x="2064" y="606"/>
                </a:lnTo>
                <a:lnTo>
                  <a:pt x="2044" y="594"/>
                </a:lnTo>
                <a:lnTo>
                  <a:pt x="2024" y="584"/>
                </a:lnTo>
                <a:lnTo>
                  <a:pt x="2004" y="574"/>
                </a:lnTo>
                <a:lnTo>
                  <a:pt x="1982" y="565"/>
                </a:lnTo>
                <a:lnTo>
                  <a:pt x="1961" y="557"/>
                </a:lnTo>
                <a:lnTo>
                  <a:pt x="1939" y="549"/>
                </a:lnTo>
                <a:lnTo>
                  <a:pt x="1914" y="543"/>
                </a:lnTo>
                <a:lnTo>
                  <a:pt x="1902" y="541"/>
                </a:lnTo>
                <a:lnTo>
                  <a:pt x="1889" y="538"/>
                </a:lnTo>
                <a:lnTo>
                  <a:pt x="1862" y="533"/>
                </a:lnTo>
                <a:lnTo>
                  <a:pt x="1834" y="530"/>
                </a:lnTo>
                <a:lnTo>
                  <a:pt x="1801" y="526"/>
                </a:lnTo>
                <a:lnTo>
                  <a:pt x="1768" y="523"/>
                </a:lnTo>
                <a:lnTo>
                  <a:pt x="1705" y="521"/>
                </a:lnTo>
                <a:lnTo>
                  <a:pt x="1641" y="520"/>
                </a:lnTo>
                <a:lnTo>
                  <a:pt x="1548" y="518"/>
                </a:lnTo>
                <a:lnTo>
                  <a:pt x="1403" y="518"/>
                </a:lnTo>
                <a:close/>
                <a:moveTo>
                  <a:pt x="1403" y="949"/>
                </a:moveTo>
                <a:lnTo>
                  <a:pt x="1380" y="949"/>
                </a:lnTo>
                <a:lnTo>
                  <a:pt x="1356" y="951"/>
                </a:lnTo>
                <a:lnTo>
                  <a:pt x="1334" y="954"/>
                </a:lnTo>
                <a:lnTo>
                  <a:pt x="1311" y="958"/>
                </a:lnTo>
                <a:lnTo>
                  <a:pt x="1289" y="963"/>
                </a:lnTo>
                <a:lnTo>
                  <a:pt x="1268" y="969"/>
                </a:lnTo>
                <a:lnTo>
                  <a:pt x="1247" y="976"/>
                </a:lnTo>
                <a:lnTo>
                  <a:pt x="1226" y="985"/>
                </a:lnTo>
                <a:lnTo>
                  <a:pt x="1206" y="994"/>
                </a:lnTo>
                <a:lnTo>
                  <a:pt x="1187" y="1003"/>
                </a:lnTo>
                <a:lnTo>
                  <a:pt x="1168" y="1015"/>
                </a:lnTo>
                <a:lnTo>
                  <a:pt x="1149" y="1027"/>
                </a:lnTo>
                <a:lnTo>
                  <a:pt x="1131" y="1039"/>
                </a:lnTo>
                <a:lnTo>
                  <a:pt x="1115" y="1053"/>
                </a:lnTo>
                <a:lnTo>
                  <a:pt x="1097" y="1067"/>
                </a:lnTo>
                <a:lnTo>
                  <a:pt x="1081" y="1081"/>
                </a:lnTo>
                <a:lnTo>
                  <a:pt x="1067" y="1097"/>
                </a:lnTo>
                <a:lnTo>
                  <a:pt x="1053" y="1114"/>
                </a:lnTo>
                <a:lnTo>
                  <a:pt x="1039" y="1131"/>
                </a:lnTo>
                <a:lnTo>
                  <a:pt x="1027" y="1149"/>
                </a:lnTo>
                <a:lnTo>
                  <a:pt x="1015" y="1168"/>
                </a:lnTo>
                <a:lnTo>
                  <a:pt x="1003" y="1187"/>
                </a:lnTo>
                <a:lnTo>
                  <a:pt x="994" y="1206"/>
                </a:lnTo>
                <a:lnTo>
                  <a:pt x="985" y="1226"/>
                </a:lnTo>
                <a:lnTo>
                  <a:pt x="976" y="1247"/>
                </a:lnTo>
                <a:lnTo>
                  <a:pt x="969" y="1268"/>
                </a:lnTo>
                <a:lnTo>
                  <a:pt x="963" y="1289"/>
                </a:lnTo>
                <a:lnTo>
                  <a:pt x="960" y="1300"/>
                </a:lnTo>
                <a:lnTo>
                  <a:pt x="958" y="1312"/>
                </a:lnTo>
                <a:lnTo>
                  <a:pt x="954" y="1334"/>
                </a:lnTo>
                <a:lnTo>
                  <a:pt x="951" y="1356"/>
                </a:lnTo>
                <a:lnTo>
                  <a:pt x="949" y="1380"/>
                </a:lnTo>
                <a:lnTo>
                  <a:pt x="949" y="1403"/>
                </a:lnTo>
                <a:lnTo>
                  <a:pt x="949" y="1427"/>
                </a:lnTo>
                <a:lnTo>
                  <a:pt x="951" y="1449"/>
                </a:lnTo>
                <a:lnTo>
                  <a:pt x="954" y="1472"/>
                </a:lnTo>
                <a:lnTo>
                  <a:pt x="958" y="1495"/>
                </a:lnTo>
                <a:lnTo>
                  <a:pt x="963" y="1517"/>
                </a:lnTo>
                <a:lnTo>
                  <a:pt x="969" y="1538"/>
                </a:lnTo>
                <a:lnTo>
                  <a:pt x="976" y="1559"/>
                </a:lnTo>
                <a:lnTo>
                  <a:pt x="985" y="1580"/>
                </a:lnTo>
                <a:lnTo>
                  <a:pt x="994" y="1600"/>
                </a:lnTo>
                <a:lnTo>
                  <a:pt x="1003" y="1620"/>
                </a:lnTo>
                <a:lnTo>
                  <a:pt x="1015" y="1638"/>
                </a:lnTo>
                <a:lnTo>
                  <a:pt x="1027" y="1657"/>
                </a:lnTo>
                <a:lnTo>
                  <a:pt x="1039" y="1674"/>
                </a:lnTo>
                <a:lnTo>
                  <a:pt x="1053" y="1691"/>
                </a:lnTo>
                <a:lnTo>
                  <a:pt x="1067" y="1709"/>
                </a:lnTo>
                <a:lnTo>
                  <a:pt x="1081" y="1724"/>
                </a:lnTo>
                <a:lnTo>
                  <a:pt x="1097" y="1740"/>
                </a:lnTo>
                <a:lnTo>
                  <a:pt x="1115" y="1753"/>
                </a:lnTo>
                <a:lnTo>
                  <a:pt x="1131" y="1767"/>
                </a:lnTo>
                <a:lnTo>
                  <a:pt x="1149" y="1779"/>
                </a:lnTo>
                <a:lnTo>
                  <a:pt x="1168" y="1792"/>
                </a:lnTo>
                <a:lnTo>
                  <a:pt x="1187" y="1803"/>
                </a:lnTo>
                <a:lnTo>
                  <a:pt x="1206" y="1813"/>
                </a:lnTo>
                <a:lnTo>
                  <a:pt x="1226" y="1821"/>
                </a:lnTo>
                <a:lnTo>
                  <a:pt x="1247" y="1830"/>
                </a:lnTo>
                <a:lnTo>
                  <a:pt x="1268" y="1836"/>
                </a:lnTo>
                <a:lnTo>
                  <a:pt x="1289" y="1842"/>
                </a:lnTo>
                <a:lnTo>
                  <a:pt x="1300" y="1846"/>
                </a:lnTo>
                <a:lnTo>
                  <a:pt x="1311" y="1847"/>
                </a:lnTo>
                <a:lnTo>
                  <a:pt x="1334" y="1852"/>
                </a:lnTo>
                <a:lnTo>
                  <a:pt x="1356" y="1855"/>
                </a:lnTo>
                <a:lnTo>
                  <a:pt x="1380" y="1856"/>
                </a:lnTo>
                <a:lnTo>
                  <a:pt x="1403" y="1857"/>
                </a:lnTo>
                <a:lnTo>
                  <a:pt x="1427" y="1856"/>
                </a:lnTo>
                <a:lnTo>
                  <a:pt x="1450" y="1855"/>
                </a:lnTo>
                <a:lnTo>
                  <a:pt x="1472" y="1852"/>
                </a:lnTo>
                <a:lnTo>
                  <a:pt x="1495" y="1847"/>
                </a:lnTo>
                <a:lnTo>
                  <a:pt x="1517" y="1842"/>
                </a:lnTo>
                <a:lnTo>
                  <a:pt x="1538" y="1836"/>
                </a:lnTo>
                <a:lnTo>
                  <a:pt x="1559" y="1830"/>
                </a:lnTo>
                <a:lnTo>
                  <a:pt x="1580" y="1821"/>
                </a:lnTo>
                <a:lnTo>
                  <a:pt x="1600" y="1813"/>
                </a:lnTo>
                <a:lnTo>
                  <a:pt x="1620" y="1803"/>
                </a:lnTo>
                <a:lnTo>
                  <a:pt x="1638" y="1792"/>
                </a:lnTo>
                <a:lnTo>
                  <a:pt x="1657" y="1779"/>
                </a:lnTo>
                <a:lnTo>
                  <a:pt x="1675" y="1767"/>
                </a:lnTo>
                <a:lnTo>
                  <a:pt x="1691" y="1753"/>
                </a:lnTo>
                <a:lnTo>
                  <a:pt x="1709" y="1740"/>
                </a:lnTo>
                <a:lnTo>
                  <a:pt x="1725" y="1724"/>
                </a:lnTo>
                <a:lnTo>
                  <a:pt x="1740" y="1709"/>
                </a:lnTo>
                <a:lnTo>
                  <a:pt x="1753" y="1691"/>
                </a:lnTo>
                <a:lnTo>
                  <a:pt x="1767" y="1674"/>
                </a:lnTo>
                <a:lnTo>
                  <a:pt x="1779" y="1657"/>
                </a:lnTo>
                <a:lnTo>
                  <a:pt x="1792" y="1638"/>
                </a:lnTo>
                <a:lnTo>
                  <a:pt x="1803" y="1620"/>
                </a:lnTo>
                <a:lnTo>
                  <a:pt x="1813" y="1600"/>
                </a:lnTo>
                <a:lnTo>
                  <a:pt x="1821" y="1580"/>
                </a:lnTo>
                <a:lnTo>
                  <a:pt x="1830" y="1559"/>
                </a:lnTo>
                <a:lnTo>
                  <a:pt x="1837" y="1538"/>
                </a:lnTo>
                <a:lnTo>
                  <a:pt x="1842" y="1517"/>
                </a:lnTo>
                <a:lnTo>
                  <a:pt x="1846" y="1506"/>
                </a:lnTo>
                <a:lnTo>
                  <a:pt x="1848" y="1495"/>
                </a:lnTo>
                <a:lnTo>
                  <a:pt x="1852" y="1472"/>
                </a:lnTo>
                <a:lnTo>
                  <a:pt x="1855" y="1449"/>
                </a:lnTo>
                <a:lnTo>
                  <a:pt x="1857" y="1427"/>
                </a:lnTo>
                <a:lnTo>
                  <a:pt x="1857" y="1403"/>
                </a:lnTo>
                <a:lnTo>
                  <a:pt x="1857" y="1380"/>
                </a:lnTo>
                <a:lnTo>
                  <a:pt x="1855" y="1356"/>
                </a:lnTo>
                <a:lnTo>
                  <a:pt x="1852" y="1334"/>
                </a:lnTo>
                <a:lnTo>
                  <a:pt x="1848" y="1312"/>
                </a:lnTo>
                <a:lnTo>
                  <a:pt x="1842" y="1289"/>
                </a:lnTo>
                <a:lnTo>
                  <a:pt x="1837" y="1268"/>
                </a:lnTo>
                <a:lnTo>
                  <a:pt x="1830" y="1247"/>
                </a:lnTo>
                <a:lnTo>
                  <a:pt x="1821" y="1226"/>
                </a:lnTo>
                <a:lnTo>
                  <a:pt x="1813" y="1206"/>
                </a:lnTo>
                <a:lnTo>
                  <a:pt x="1803" y="1187"/>
                </a:lnTo>
                <a:lnTo>
                  <a:pt x="1792" y="1168"/>
                </a:lnTo>
                <a:lnTo>
                  <a:pt x="1779" y="1149"/>
                </a:lnTo>
                <a:lnTo>
                  <a:pt x="1767" y="1131"/>
                </a:lnTo>
                <a:lnTo>
                  <a:pt x="1753" y="1114"/>
                </a:lnTo>
                <a:lnTo>
                  <a:pt x="1740" y="1097"/>
                </a:lnTo>
                <a:lnTo>
                  <a:pt x="1725" y="1081"/>
                </a:lnTo>
                <a:lnTo>
                  <a:pt x="1709" y="1067"/>
                </a:lnTo>
                <a:lnTo>
                  <a:pt x="1691" y="1053"/>
                </a:lnTo>
                <a:lnTo>
                  <a:pt x="1675" y="1039"/>
                </a:lnTo>
                <a:lnTo>
                  <a:pt x="1657" y="1027"/>
                </a:lnTo>
                <a:lnTo>
                  <a:pt x="1638" y="1015"/>
                </a:lnTo>
                <a:lnTo>
                  <a:pt x="1620" y="1003"/>
                </a:lnTo>
                <a:lnTo>
                  <a:pt x="1600" y="994"/>
                </a:lnTo>
                <a:lnTo>
                  <a:pt x="1580" y="985"/>
                </a:lnTo>
                <a:lnTo>
                  <a:pt x="1559" y="976"/>
                </a:lnTo>
                <a:lnTo>
                  <a:pt x="1538" y="969"/>
                </a:lnTo>
                <a:lnTo>
                  <a:pt x="1517" y="963"/>
                </a:lnTo>
                <a:lnTo>
                  <a:pt x="1506" y="960"/>
                </a:lnTo>
                <a:lnTo>
                  <a:pt x="1495" y="958"/>
                </a:lnTo>
                <a:lnTo>
                  <a:pt x="1472" y="954"/>
                </a:lnTo>
                <a:lnTo>
                  <a:pt x="1450" y="951"/>
                </a:lnTo>
                <a:lnTo>
                  <a:pt x="1427" y="949"/>
                </a:lnTo>
                <a:lnTo>
                  <a:pt x="1403" y="949"/>
                </a:lnTo>
                <a:close/>
                <a:moveTo>
                  <a:pt x="1403" y="1698"/>
                </a:moveTo>
                <a:lnTo>
                  <a:pt x="1388" y="1698"/>
                </a:lnTo>
                <a:lnTo>
                  <a:pt x="1373" y="1696"/>
                </a:lnTo>
                <a:lnTo>
                  <a:pt x="1359" y="1694"/>
                </a:lnTo>
                <a:lnTo>
                  <a:pt x="1344" y="1691"/>
                </a:lnTo>
                <a:lnTo>
                  <a:pt x="1329" y="1689"/>
                </a:lnTo>
                <a:lnTo>
                  <a:pt x="1315" y="1684"/>
                </a:lnTo>
                <a:lnTo>
                  <a:pt x="1302" y="1680"/>
                </a:lnTo>
                <a:lnTo>
                  <a:pt x="1288" y="1674"/>
                </a:lnTo>
                <a:lnTo>
                  <a:pt x="1276" y="1669"/>
                </a:lnTo>
                <a:lnTo>
                  <a:pt x="1262" y="1662"/>
                </a:lnTo>
                <a:lnTo>
                  <a:pt x="1250" y="1655"/>
                </a:lnTo>
                <a:lnTo>
                  <a:pt x="1238" y="1647"/>
                </a:lnTo>
                <a:lnTo>
                  <a:pt x="1226" y="1639"/>
                </a:lnTo>
                <a:lnTo>
                  <a:pt x="1215" y="1631"/>
                </a:lnTo>
                <a:lnTo>
                  <a:pt x="1205" y="1621"/>
                </a:lnTo>
                <a:lnTo>
                  <a:pt x="1195" y="1611"/>
                </a:lnTo>
                <a:lnTo>
                  <a:pt x="1185" y="1601"/>
                </a:lnTo>
                <a:lnTo>
                  <a:pt x="1175" y="1590"/>
                </a:lnTo>
                <a:lnTo>
                  <a:pt x="1167" y="1579"/>
                </a:lnTo>
                <a:lnTo>
                  <a:pt x="1158" y="1568"/>
                </a:lnTo>
                <a:lnTo>
                  <a:pt x="1151" y="1555"/>
                </a:lnTo>
                <a:lnTo>
                  <a:pt x="1143" y="1543"/>
                </a:lnTo>
                <a:lnTo>
                  <a:pt x="1137" y="1531"/>
                </a:lnTo>
                <a:lnTo>
                  <a:pt x="1131" y="1518"/>
                </a:lnTo>
                <a:lnTo>
                  <a:pt x="1126" y="1505"/>
                </a:lnTo>
                <a:lnTo>
                  <a:pt x="1121" y="1491"/>
                </a:lnTo>
                <a:lnTo>
                  <a:pt x="1117" y="1476"/>
                </a:lnTo>
                <a:lnTo>
                  <a:pt x="1115" y="1462"/>
                </a:lnTo>
                <a:lnTo>
                  <a:pt x="1111" y="1448"/>
                </a:lnTo>
                <a:lnTo>
                  <a:pt x="1110" y="1433"/>
                </a:lnTo>
                <a:lnTo>
                  <a:pt x="1109" y="1418"/>
                </a:lnTo>
                <a:lnTo>
                  <a:pt x="1109" y="1403"/>
                </a:lnTo>
                <a:lnTo>
                  <a:pt x="1109" y="1388"/>
                </a:lnTo>
                <a:lnTo>
                  <a:pt x="1110" y="1373"/>
                </a:lnTo>
                <a:lnTo>
                  <a:pt x="1111" y="1359"/>
                </a:lnTo>
                <a:lnTo>
                  <a:pt x="1115" y="1344"/>
                </a:lnTo>
                <a:lnTo>
                  <a:pt x="1117" y="1329"/>
                </a:lnTo>
                <a:lnTo>
                  <a:pt x="1121" y="1315"/>
                </a:lnTo>
                <a:lnTo>
                  <a:pt x="1126" y="1302"/>
                </a:lnTo>
                <a:lnTo>
                  <a:pt x="1131" y="1288"/>
                </a:lnTo>
                <a:lnTo>
                  <a:pt x="1137" y="1276"/>
                </a:lnTo>
                <a:lnTo>
                  <a:pt x="1143" y="1262"/>
                </a:lnTo>
                <a:lnTo>
                  <a:pt x="1151" y="1250"/>
                </a:lnTo>
                <a:lnTo>
                  <a:pt x="1158" y="1239"/>
                </a:lnTo>
                <a:lnTo>
                  <a:pt x="1167" y="1226"/>
                </a:lnTo>
                <a:lnTo>
                  <a:pt x="1175" y="1215"/>
                </a:lnTo>
                <a:lnTo>
                  <a:pt x="1185" y="1205"/>
                </a:lnTo>
                <a:lnTo>
                  <a:pt x="1195" y="1194"/>
                </a:lnTo>
                <a:lnTo>
                  <a:pt x="1205" y="1185"/>
                </a:lnTo>
                <a:lnTo>
                  <a:pt x="1215" y="1175"/>
                </a:lnTo>
                <a:lnTo>
                  <a:pt x="1226" y="1167"/>
                </a:lnTo>
                <a:lnTo>
                  <a:pt x="1238" y="1158"/>
                </a:lnTo>
                <a:lnTo>
                  <a:pt x="1250" y="1151"/>
                </a:lnTo>
                <a:lnTo>
                  <a:pt x="1262" y="1143"/>
                </a:lnTo>
                <a:lnTo>
                  <a:pt x="1276" y="1137"/>
                </a:lnTo>
                <a:lnTo>
                  <a:pt x="1288" y="1131"/>
                </a:lnTo>
                <a:lnTo>
                  <a:pt x="1302" y="1126"/>
                </a:lnTo>
                <a:lnTo>
                  <a:pt x="1315" y="1121"/>
                </a:lnTo>
                <a:lnTo>
                  <a:pt x="1329" y="1117"/>
                </a:lnTo>
                <a:lnTo>
                  <a:pt x="1344" y="1114"/>
                </a:lnTo>
                <a:lnTo>
                  <a:pt x="1359" y="1111"/>
                </a:lnTo>
                <a:lnTo>
                  <a:pt x="1373" y="1110"/>
                </a:lnTo>
                <a:lnTo>
                  <a:pt x="1388" y="1109"/>
                </a:lnTo>
                <a:lnTo>
                  <a:pt x="1403" y="1109"/>
                </a:lnTo>
                <a:lnTo>
                  <a:pt x="1418" y="1109"/>
                </a:lnTo>
                <a:lnTo>
                  <a:pt x="1433" y="1110"/>
                </a:lnTo>
                <a:lnTo>
                  <a:pt x="1448" y="1111"/>
                </a:lnTo>
                <a:lnTo>
                  <a:pt x="1462" y="1114"/>
                </a:lnTo>
                <a:lnTo>
                  <a:pt x="1477" y="1117"/>
                </a:lnTo>
                <a:lnTo>
                  <a:pt x="1491" y="1121"/>
                </a:lnTo>
                <a:lnTo>
                  <a:pt x="1505" y="1126"/>
                </a:lnTo>
                <a:lnTo>
                  <a:pt x="1518" y="1131"/>
                </a:lnTo>
                <a:lnTo>
                  <a:pt x="1530" y="1137"/>
                </a:lnTo>
                <a:lnTo>
                  <a:pt x="1544" y="1143"/>
                </a:lnTo>
                <a:lnTo>
                  <a:pt x="1556" y="1151"/>
                </a:lnTo>
                <a:lnTo>
                  <a:pt x="1568" y="1158"/>
                </a:lnTo>
                <a:lnTo>
                  <a:pt x="1580" y="1167"/>
                </a:lnTo>
                <a:lnTo>
                  <a:pt x="1591" y="1175"/>
                </a:lnTo>
                <a:lnTo>
                  <a:pt x="1601" y="1185"/>
                </a:lnTo>
                <a:lnTo>
                  <a:pt x="1611" y="1194"/>
                </a:lnTo>
                <a:lnTo>
                  <a:pt x="1621" y="1205"/>
                </a:lnTo>
                <a:lnTo>
                  <a:pt x="1631" y="1215"/>
                </a:lnTo>
                <a:lnTo>
                  <a:pt x="1639" y="1226"/>
                </a:lnTo>
                <a:lnTo>
                  <a:pt x="1648" y="1239"/>
                </a:lnTo>
                <a:lnTo>
                  <a:pt x="1655" y="1250"/>
                </a:lnTo>
                <a:lnTo>
                  <a:pt x="1662" y="1262"/>
                </a:lnTo>
                <a:lnTo>
                  <a:pt x="1669" y="1276"/>
                </a:lnTo>
                <a:lnTo>
                  <a:pt x="1675" y="1288"/>
                </a:lnTo>
                <a:lnTo>
                  <a:pt x="1680" y="1302"/>
                </a:lnTo>
                <a:lnTo>
                  <a:pt x="1685" y="1315"/>
                </a:lnTo>
                <a:lnTo>
                  <a:pt x="1689" y="1329"/>
                </a:lnTo>
                <a:lnTo>
                  <a:pt x="1691" y="1344"/>
                </a:lnTo>
                <a:lnTo>
                  <a:pt x="1694" y="1359"/>
                </a:lnTo>
                <a:lnTo>
                  <a:pt x="1696" y="1373"/>
                </a:lnTo>
                <a:lnTo>
                  <a:pt x="1698" y="1388"/>
                </a:lnTo>
                <a:lnTo>
                  <a:pt x="1698" y="1403"/>
                </a:lnTo>
                <a:lnTo>
                  <a:pt x="1698" y="1418"/>
                </a:lnTo>
                <a:lnTo>
                  <a:pt x="1696" y="1433"/>
                </a:lnTo>
                <a:lnTo>
                  <a:pt x="1694" y="1448"/>
                </a:lnTo>
                <a:lnTo>
                  <a:pt x="1691" y="1462"/>
                </a:lnTo>
                <a:lnTo>
                  <a:pt x="1689" y="1476"/>
                </a:lnTo>
                <a:lnTo>
                  <a:pt x="1685" y="1491"/>
                </a:lnTo>
                <a:lnTo>
                  <a:pt x="1680" y="1505"/>
                </a:lnTo>
                <a:lnTo>
                  <a:pt x="1675" y="1518"/>
                </a:lnTo>
                <a:lnTo>
                  <a:pt x="1669" y="1531"/>
                </a:lnTo>
                <a:lnTo>
                  <a:pt x="1662" y="1543"/>
                </a:lnTo>
                <a:lnTo>
                  <a:pt x="1655" y="1555"/>
                </a:lnTo>
                <a:lnTo>
                  <a:pt x="1648" y="1568"/>
                </a:lnTo>
                <a:lnTo>
                  <a:pt x="1639" y="1579"/>
                </a:lnTo>
                <a:lnTo>
                  <a:pt x="1631" y="1590"/>
                </a:lnTo>
                <a:lnTo>
                  <a:pt x="1621" y="1601"/>
                </a:lnTo>
                <a:lnTo>
                  <a:pt x="1611" y="1611"/>
                </a:lnTo>
                <a:lnTo>
                  <a:pt x="1601" y="1621"/>
                </a:lnTo>
                <a:lnTo>
                  <a:pt x="1591" y="1631"/>
                </a:lnTo>
                <a:lnTo>
                  <a:pt x="1580" y="1639"/>
                </a:lnTo>
                <a:lnTo>
                  <a:pt x="1568" y="1647"/>
                </a:lnTo>
                <a:lnTo>
                  <a:pt x="1556" y="1655"/>
                </a:lnTo>
                <a:lnTo>
                  <a:pt x="1544" y="1662"/>
                </a:lnTo>
                <a:lnTo>
                  <a:pt x="1530" y="1669"/>
                </a:lnTo>
                <a:lnTo>
                  <a:pt x="1518" y="1674"/>
                </a:lnTo>
                <a:lnTo>
                  <a:pt x="1505" y="1680"/>
                </a:lnTo>
                <a:lnTo>
                  <a:pt x="1491" y="1684"/>
                </a:lnTo>
                <a:lnTo>
                  <a:pt x="1477" y="1689"/>
                </a:lnTo>
                <a:lnTo>
                  <a:pt x="1462" y="1691"/>
                </a:lnTo>
                <a:lnTo>
                  <a:pt x="1448" y="1694"/>
                </a:lnTo>
                <a:lnTo>
                  <a:pt x="1433" y="1696"/>
                </a:lnTo>
                <a:lnTo>
                  <a:pt x="1418" y="1698"/>
                </a:lnTo>
                <a:lnTo>
                  <a:pt x="1403" y="1698"/>
                </a:lnTo>
                <a:close/>
                <a:moveTo>
                  <a:pt x="1769" y="930"/>
                </a:moveTo>
                <a:lnTo>
                  <a:pt x="1769" y="921"/>
                </a:lnTo>
                <a:lnTo>
                  <a:pt x="1772" y="909"/>
                </a:lnTo>
                <a:lnTo>
                  <a:pt x="1774" y="900"/>
                </a:lnTo>
                <a:lnTo>
                  <a:pt x="1778" y="890"/>
                </a:lnTo>
                <a:lnTo>
                  <a:pt x="1782" y="880"/>
                </a:lnTo>
                <a:lnTo>
                  <a:pt x="1787" y="871"/>
                </a:lnTo>
                <a:lnTo>
                  <a:pt x="1793" y="864"/>
                </a:lnTo>
                <a:lnTo>
                  <a:pt x="1796" y="860"/>
                </a:lnTo>
                <a:lnTo>
                  <a:pt x="1800" y="856"/>
                </a:lnTo>
                <a:lnTo>
                  <a:pt x="1808" y="849"/>
                </a:lnTo>
                <a:lnTo>
                  <a:pt x="1816" y="843"/>
                </a:lnTo>
                <a:lnTo>
                  <a:pt x="1825" y="838"/>
                </a:lnTo>
                <a:lnTo>
                  <a:pt x="1834" y="833"/>
                </a:lnTo>
                <a:lnTo>
                  <a:pt x="1844" y="829"/>
                </a:lnTo>
                <a:lnTo>
                  <a:pt x="1853" y="827"/>
                </a:lnTo>
                <a:lnTo>
                  <a:pt x="1865" y="825"/>
                </a:lnTo>
                <a:lnTo>
                  <a:pt x="1876" y="825"/>
                </a:lnTo>
                <a:lnTo>
                  <a:pt x="1886" y="825"/>
                </a:lnTo>
                <a:lnTo>
                  <a:pt x="1897" y="827"/>
                </a:lnTo>
                <a:lnTo>
                  <a:pt x="1907" y="829"/>
                </a:lnTo>
                <a:lnTo>
                  <a:pt x="1917" y="833"/>
                </a:lnTo>
                <a:lnTo>
                  <a:pt x="1925" y="838"/>
                </a:lnTo>
                <a:lnTo>
                  <a:pt x="1934" y="843"/>
                </a:lnTo>
                <a:lnTo>
                  <a:pt x="1942" y="849"/>
                </a:lnTo>
                <a:lnTo>
                  <a:pt x="1946" y="852"/>
                </a:lnTo>
                <a:lnTo>
                  <a:pt x="1950" y="856"/>
                </a:lnTo>
                <a:lnTo>
                  <a:pt x="1957" y="864"/>
                </a:lnTo>
                <a:lnTo>
                  <a:pt x="1964" y="871"/>
                </a:lnTo>
                <a:lnTo>
                  <a:pt x="1968" y="880"/>
                </a:lnTo>
                <a:lnTo>
                  <a:pt x="1973" y="890"/>
                </a:lnTo>
                <a:lnTo>
                  <a:pt x="1976" y="900"/>
                </a:lnTo>
                <a:lnTo>
                  <a:pt x="1980" y="909"/>
                </a:lnTo>
                <a:lnTo>
                  <a:pt x="1981" y="921"/>
                </a:lnTo>
                <a:lnTo>
                  <a:pt x="1981" y="930"/>
                </a:lnTo>
                <a:lnTo>
                  <a:pt x="1981" y="942"/>
                </a:lnTo>
                <a:lnTo>
                  <a:pt x="1980" y="953"/>
                </a:lnTo>
                <a:lnTo>
                  <a:pt x="1976" y="963"/>
                </a:lnTo>
                <a:lnTo>
                  <a:pt x="1973" y="973"/>
                </a:lnTo>
                <a:lnTo>
                  <a:pt x="1968" y="981"/>
                </a:lnTo>
                <a:lnTo>
                  <a:pt x="1964" y="990"/>
                </a:lnTo>
                <a:lnTo>
                  <a:pt x="1957" y="998"/>
                </a:lnTo>
                <a:lnTo>
                  <a:pt x="1954" y="1002"/>
                </a:lnTo>
                <a:lnTo>
                  <a:pt x="1950" y="1006"/>
                </a:lnTo>
                <a:lnTo>
                  <a:pt x="1942" y="1013"/>
                </a:lnTo>
                <a:lnTo>
                  <a:pt x="1934" y="1018"/>
                </a:lnTo>
                <a:lnTo>
                  <a:pt x="1925" y="1024"/>
                </a:lnTo>
                <a:lnTo>
                  <a:pt x="1917" y="1028"/>
                </a:lnTo>
                <a:lnTo>
                  <a:pt x="1907" y="1032"/>
                </a:lnTo>
                <a:lnTo>
                  <a:pt x="1897" y="1034"/>
                </a:lnTo>
                <a:lnTo>
                  <a:pt x="1886" y="1037"/>
                </a:lnTo>
                <a:lnTo>
                  <a:pt x="1876" y="1037"/>
                </a:lnTo>
                <a:lnTo>
                  <a:pt x="1865" y="1037"/>
                </a:lnTo>
                <a:lnTo>
                  <a:pt x="1853" y="1034"/>
                </a:lnTo>
                <a:lnTo>
                  <a:pt x="1844" y="1032"/>
                </a:lnTo>
                <a:lnTo>
                  <a:pt x="1834" y="1028"/>
                </a:lnTo>
                <a:lnTo>
                  <a:pt x="1825" y="1024"/>
                </a:lnTo>
                <a:lnTo>
                  <a:pt x="1816" y="1018"/>
                </a:lnTo>
                <a:lnTo>
                  <a:pt x="1808" y="1013"/>
                </a:lnTo>
                <a:lnTo>
                  <a:pt x="1804" y="1010"/>
                </a:lnTo>
                <a:lnTo>
                  <a:pt x="1800" y="1006"/>
                </a:lnTo>
                <a:lnTo>
                  <a:pt x="1793" y="998"/>
                </a:lnTo>
                <a:lnTo>
                  <a:pt x="1787" y="990"/>
                </a:lnTo>
                <a:lnTo>
                  <a:pt x="1782" y="981"/>
                </a:lnTo>
                <a:lnTo>
                  <a:pt x="1778" y="973"/>
                </a:lnTo>
                <a:lnTo>
                  <a:pt x="1774" y="963"/>
                </a:lnTo>
                <a:lnTo>
                  <a:pt x="1772" y="953"/>
                </a:lnTo>
                <a:lnTo>
                  <a:pt x="1769" y="942"/>
                </a:lnTo>
                <a:lnTo>
                  <a:pt x="1769" y="930"/>
                </a:lnTo>
                <a:close/>
                <a:moveTo>
                  <a:pt x="0" y="0"/>
                </a:moveTo>
                <a:lnTo>
                  <a:pt x="702" y="0"/>
                </a:lnTo>
                <a:lnTo>
                  <a:pt x="1403" y="0"/>
                </a:lnTo>
                <a:lnTo>
                  <a:pt x="2105" y="0"/>
                </a:lnTo>
                <a:lnTo>
                  <a:pt x="2806" y="0"/>
                </a:lnTo>
                <a:lnTo>
                  <a:pt x="2806" y="702"/>
                </a:lnTo>
                <a:lnTo>
                  <a:pt x="2806" y="1403"/>
                </a:lnTo>
                <a:lnTo>
                  <a:pt x="2806" y="2105"/>
                </a:lnTo>
                <a:lnTo>
                  <a:pt x="2806" y="2806"/>
                </a:lnTo>
                <a:lnTo>
                  <a:pt x="2105" y="2806"/>
                </a:lnTo>
                <a:lnTo>
                  <a:pt x="1403" y="2806"/>
                </a:lnTo>
                <a:lnTo>
                  <a:pt x="702" y="2806"/>
                </a:lnTo>
                <a:lnTo>
                  <a:pt x="0" y="2806"/>
                </a:lnTo>
                <a:lnTo>
                  <a:pt x="0" y="2105"/>
                </a:lnTo>
                <a:lnTo>
                  <a:pt x="0" y="1403"/>
                </a:lnTo>
                <a:lnTo>
                  <a:pt x="0" y="702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0201" tIns="40100" rIns="80201" bIns="40100" numCol="1" anchor="t" anchorCtr="0" compatLnSpc="1">
            <a:prstTxWarp prst="textNoShape">
              <a:avLst/>
            </a:prstTxWarp>
          </a:bodyPr>
          <a:lstStyle/>
          <a:p>
            <a:endParaRPr lang="en-GB" sz="1579"/>
          </a:p>
        </p:txBody>
      </p:sp>
      <p:sp>
        <p:nvSpPr>
          <p:cNvPr id="11" name="Freeform 12">
            <a:hlinkClick r:id="rId6" tooltip="LinkedIn"/>
          </p:cNvPr>
          <p:cNvSpPr>
            <a:spLocks noChangeAspect="1" noEditPoints="1"/>
          </p:cNvSpPr>
          <p:nvPr/>
        </p:nvSpPr>
        <p:spPr bwMode="auto">
          <a:xfrm>
            <a:off x="5220414" y="684481"/>
            <a:ext cx="252600" cy="317600"/>
          </a:xfrm>
          <a:custGeom>
            <a:avLst/>
            <a:gdLst>
              <a:gd name="T0" fmla="*/ 962 w 2804"/>
              <a:gd name="T1" fmla="*/ 2198 h 2806"/>
              <a:gd name="T2" fmla="*/ 798 w 2804"/>
              <a:gd name="T3" fmla="*/ 609 h 2806"/>
              <a:gd name="T4" fmla="*/ 845 w 2804"/>
              <a:gd name="T5" fmla="*/ 615 h 2806"/>
              <a:gd name="T6" fmla="*/ 904 w 2804"/>
              <a:gd name="T7" fmla="*/ 641 h 2806"/>
              <a:gd name="T8" fmla="*/ 950 w 2804"/>
              <a:gd name="T9" fmla="*/ 685 h 2806"/>
              <a:gd name="T10" fmla="*/ 973 w 2804"/>
              <a:gd name="T11" fmla="*/ 725 h 2806"/>
              <a:gd name="T12" fmla="*/ 984 w 2804"/>
              <a:gd name="T13" fmla="*/ 761 h 2806"/>
              <a:gd name="T14" fmla="*/ 986 w 2804"/>
              <a:gd name="T15" fmla="*/ 829 h 2806"/>
              <a:gd name="T16" fmla="*/ 973 w 2804"/>
              <a:gd name="T17" fmla="*/ 875 h 2806"/>
              <a:gd name="T18" fmla="*/ 933 w 2804"/>
              <a:gd name="T19" fmla="*/ 935 h 2806"/>
              <a:gd name="T20" fmla="*/ 888 w 2804"/>
              <a:gd name="T21" fmla="*/ 969 h 2806"/>
              <a:gd name="T22" fmla="*/ 855 w 2804"/>
              <a:gd name="T23" fmla="*/ 982 h 2806"/>
              <a:gd name="T24" fmla="*/ 798 w 2804"/>
              <a:gd name="T25" fmla="*/ 991 h 2806"/>
              <a:gd name="T26" fmla="*/ 749 w 2804"/>
              <a:gd name="T27" fmla="*/ 985 h 2806"/>
              <a:gd name="T28" fmla="*/ 690 w 2804"/>
              <a:gd name="T29" fmla="*/ 959 h 2806"/>
              <a:gd name="T30" fmla="*/ 644 w 2804"/>
              <a:gd name="T31" fmla="*/ 914 h 2806"/>
              <a:gd name="T32" fmla="*/ 621 w 2804"/>
              <a:gd name="T33" fmla="*/ 875 h 2806"/>
              <a:gd name="T34" fmla="*/ 610 w 2804"/>
              <a:gd name="T35" fmla="*/ 839 h 2806"/>
              <a:gd name="T36" fmla="*/ 608 w 2804"/>
              <a:gd name="T37" fmla="*/ 771 h 2806"/>
              <a:gd name="T38" fmla="*/ 621 w 2804"/>
              <a:gd name="T39" fmla="*/ 725 h 2806"/>
              <a:gd name="T40" fmla="*/ 662 w 2804"/>
              <a:gd name="T41" fmla="*/ 664 h 2806"/>
              <a:gd name="T42" fmla="*/ 706 w 2804"/>
              <a:gd name="T43" fmla="*/ 632 h 2806"/>
              <a:gd name="T44" fmla="*/ 749 w 2804"/>
              <a:gd name="T45" fmla="*/ 615 h 2806"/>
              <a:gd name="T46" fmla="*/ 798 w 2804"/>
              <a:gd name="T47" fmla="*/ 609 h 2806"/>
              <a:gd name="T48" fmla="*/ 1491 w 2804"/>
              <a:gd name="T49" fmla="*/ 1282 h 2806"/>
              <a:gd name="T50" fmla="*/ 1521 w 2804"/>
              <a:gd name="T51" fmla="*/ 1235 h 2806"/>
              <a:gd name="T52" fmla="*/ 1583 w 2804"/>
              <a:gd name="T53" fmla="*/ 1176 h 2806"/>
              <a:gd name="T54" fmla="*/ 1656 w 2804"/>
              <a:gd name="T55" fmla="*/ 1137 h 2806"/>
              <a:gd name="T56" fmla="*/ 1718 w 2804"/>
              <a:gd name="T57" fmla="*/ 1118 h 2806"/>
              <a:gd name="T58" fmla="*/ 1773 w 2804"/>
              <a:gd name="T59" fmla="*/ 1111 h 2806"/>
              <a:gd name="T60" fmla="*/ 1862 w 2804"/>
              <a:gd name="T61" fmla="*/ 1112 h 2806"/>
              <a:gd name="T62" fmla="*/ 1940 w 2804"/>
              <a:gd name="T63" fmla="*/ 1126 h 2806"/>
              <a:gd name="T64" fmla="*/ 2024 w 2804"/>
              <a:gd name="T65" fmla="*/ 1159 h 2806"/>
              <a:gd name="T66" fmla="*/ 2067 w 2804"/>
              <a:gd name="T67" fmla="*/ 1188 h 2806"/>
              <a:gd name="T68" fmla="*/ 2096 w 2804"/>
              <a:gd name="T69" fmla="*/ 1216 h 2806"/>
              <a:gd name="T70" fmla="*/ 2120 w 2804"/>
              <a:gd name="T71" fmla="*/ 1247 h 2806"/>
              <a:gd name="T72" fmla="*/ 2140 w 2804"/>
              <a:gd name="T73" fmla="*/ 1282 h 2806"/>
              <a:gd name="T74" fmla="*/ 2161 w 2804"/>
              <a:gd name="T75" fmla="*/ 1330 h 2806"/>
              <a:gd name="T76" fmla="*/ 2183 w 2804"/>
              <a:gd name="T77" fmla="*/ 1417 h 2806"/>
              <a:gd name="T78" fmla="*/ 2193 w 2804"/>
              <a:gd name="T79" fmla="*/ 1487 h 2806"/>
              <a:gd name="T80" fmla="*/ 2198 w 2804"/>
              <a:gd name="T81" fmla="*/ 1588 h 2806"/>
              <a:gd name="T82" fmla="*/ 1868 w 2804"/>
              <a:gd name="T83" fmla="*/ 1681 h 2806"/>
              <a:gd name="T84" fmla="*/ 1864 w 2804"/>
              <a:gd name="T85" fmla="*/ 1574 h 2806"/>
              <a:gd name="T86" fmla="*/ 1853 w 2804"/>
              <a:gd name="T87" fmla="*/ 1515 h 2806"/>
              <a:gd name="T88" fmla="*/ 1837 w 2804"/>
              <a:gd name="T89" fmla="*/ 1475 h 2806"/>
              <a:gd name="T90" fmla="*/ 1811 w 2804"/>
              <a:gd name="T91" fmla="*/ 1441 h 2806"/>
              <a:gd name="T92" fmla="*/ 1785 w 2804"/>
              <a:gd name="T93" fmla="*/ 1421 h 2806"/>
              <a:gd name="T94" fmla="*/ 1753 w 2804"/>
              <a:gd name="T95" fmla="*/ 1407 h 2806"/>
              <a:gd name="T96" fmla="*/ 1697 w 2804"/>
              <a:gd name="T97" fmla="*/ 1400 h 2806"/>
              <a:gd name="T98" fmla="*/ 1639 w 2804"/>
              <a:gd name="T99" fmla="*/ 1407 h 2806"/>
              <a:gd name="T100" fmla="*/ 1593 w 2804"/>
              <a:gd name="T101" fmla="*/ 1423 h 2806"/>
              <a:gd name="T102" fmla="*/ 1566 w 2804"/>
              <a:gd name="T103" fmla="*/ 1442 h 2806"/>
              <a:gd name="T104" fmla="*/ 1539 w 2804"/>
              <a:gd name="T105" fmla="*/ 1475 h 2806"/>
              <a:gd name="T106" fmla="*/ 1520 w 2804"/>
              <a:gd name="T107" fmla="*/ 1515 h 2806"/>
              <a:gd name="T108" fmla="*/ 1508 w 2804"/>
              <a:gd name="T109" fmla="*/ 1560 h 2806"/>
              <a:gd name="T110" fmla="*/ 1500 w 2804"/>
              <a:gd name="T111" fmla="*/ 1622 h 2806"/>
              <a:gd name="T112" fmla="*/ 1169 w 2804"/>
              <a:gd name="T113" fmla="*/ 2198 h 2806"/>
              <a:gd name="T114" fmla="*/ 700 w 2804"/>
              <a:gd name="T115" fmla="*/ 0 h 2806"/>
              <a:gd name="T116" fmla="*/ 2804 w 2804"/>
              <a:gd name="T117" fmla="*/ 701 h 2806"/>
              <a:gd name="T118" fmla="*/ 2103 w 2804"/>
              <a:gd name="T119" fmla="*/ 2806 h 2806"/>
              <a:gd name="T120" fmla="*/ 0 w 2804"/>
              <a:gd name="T121" fmla="*/ 2104 h 28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04" h="2806">
                <a:moveTo>
                  <a:pt x="632" y="1136"/>
                </a:moveTo>
                <a:lnTo>
                  <a:pt x="962" y="1136"/>
                </a:lnTo>
                <a:lnTo>
                  <a:pt x="962" y="1666"/>
                </a:lnTo>
                <a:lnTo>
                  <a:pt x="962" y="2198"/>
                </a:lnTo>
                <a:lnTo>
                  <a:pt x="632" y="2198"/>
                </a:lnTo>
                <a:lnTo>
                  <a:pt x="632" y="1666"/>
                </a:lnTo>
                <a:lnTo>
                  <a:pt x="632" y="1136"/>
                </a:lnTo>
                <a:close/>
                <a:moveTo>
                  <a:pt x="798" y="609"/>
                </a:moveTo>
                <a:lnTo>
                  <a:pt x="816" y="610"/>
                </a:lnTo>
                <a:lnTo>
                  <a:pt x="826" y="611"/>
                </a:lnTo>
                <a:lnTo>
                  <a:pt x="836" y="612"/>
                </a:lnTo>
                <a:lnTo>
                  <a:pt x="845" y="615"/>
                </a:lnTo>
                <a:lnTo>
                  <a:pt x="855" y="617"/>
                </a:lnTo>
                <a:lnTo>
                  <a:pt x="872" y="623"/>
                </a:lnTo>
                <a:lnTo>
                  <a:pt x="888" y="632"/>
                </a:lnTo>
                <a:lnTo>
                  <a:pt x="904" y="641"/>
                </a:lnTo>
                <a:lnTo>
                  <a:pt x="919" y="652"/>
                </a:lnTo>
                <a:lnTo>
                  <a:pt x="933" y="664"/>
                </a:lnTo>
                <a:lnTo>
                  <a:pt x="945" y="678"/>
                </a:lnTo>
                <a:lnTo>
                  <a:pt x="950" y="685"/>
                </a:lnTo>
                <a:lnTo>
                  <a:pt x="956" y="693"/>
                </a:lnTo>
                <a:lnTo>
                  <a:pt x="965" y="709"/>
                </a:lnTo>
                <a:lnTo>
                  <a:pt x="970" y="717"/>
                </a:lnTo>
                <a:lnTo>
                  <a:pt x="973" y="725"/>
                </a:lnTo>
                <a:lnTo>
                  <a:pt x="977" y="734"/>
                </a:lnTo>
                <a:lnTo>
                  <a:pt x="980" y="743"/>
                </a:lnTo>
                <a:lnTo>
                  <a:pt x="982" y="752"/>
                </a:lnTo>
                <a:lnTo>
                  <a:pt x="984" y="761"/>
                </a:lnTo>
                <a:lnTo>
                  <a:pt x="987" y="781"/>
                </a:lnTo>
                <a:lnTo>
                  <a:pt x="988" y="800"/>
                </a:lnTo>
                <a:lnTo>
                  <a:pt x="987" y="819"/>
                </a:lnTo>
                <a:lnTo>
                  <a:pt x="986" y="829"/>
                </a:lnTo>
                <a:lnTo>
                  <a:pt x="984" y="839"/>
                </a:lnTo>
                <a:lnTo>
                  <a:pt x="982" y="847"/>
                </a:lnTo>
                <a:lnTo>
                  <a:pt x="980" y="857"/>
                </a:lnTo>
                <a:lnTo>
                  <a:pt x="973" y="875"/>
                </a:lnTo>
                <a:lnTo>
                  <a:pt x="965" y="891"/>
                </a:lnTo>
                <a:lnTo>
                  <a:pt x="956" y="907"/>
                </a:lnTo>
                <a:lnTo>
                  <a:pt x="945" y="922"/>
                </a:lnTo>
                <a:lnTo>
                  <a:pt x="933" y="935"/>
                </a:lnTo>
                <a:lnTo>
                  <a:pt x="919" y="948"/>
                </a:lnTo>
                <a:lnTo>
                  <a:pt x="911" y="954"/>
                </a:lnTo>
                <a:lnTo>
                  <a:pt x="904" y="959"/>
                </a:lnTo>
                <a:lnTo>
                  <a:pt x="888" y="969"/>
                </a:lnTo>
                <a:lnTo>
                  <a:pt x="881" y="972"/>
                </a:lnTo>
                <a:lnTo>
                  <a:pt x="872" y="976"/>
                </a:lnTo>
                <a:lnTo>
                  <a:pt x="863" y="980"/>
                </a:lnTo>
                <a:lnTo>
                  <a:pt x="855" y="982"/>
                </a:lnTo>
                <a:lnTo>
                  <a:pt x="845" y="985"/>
                </a:lnTo>
                <a:lnTo>
                  <a:pt x="836" y="987"/>
                </a:lnTo>
                <a:lnTo>
                  <a:pt x="816" y="990"/>
                </a:lnTo>
                <a:lnTo>
                  <a:pt x="798" y="991"/>
                </a:lnTo>
                <a:lnTo>
                  <a:pt x="788" y="991"/>
                </a:lnTo>
                <a:lnTo>
                  <a:pt x="778" y="990"/>
                </a:lnTo>
                <a:lnTo>
                  <a:pt x="758" y="987"/>
                </a:lnTo>
                <a:lnTo>
                  <a:pt x="749" y="985"/>
                </a:lnTo>
                <a:lnTo>
                  <a:pt x="740" y="982"/>
                </a:lnTo>
                <a:lnTo>
                  <a:pt x="722" y="976"/>
                </a:lnTo>
                <a:lnTo>
                  <a:pt x="706" y="969"/>
                </a:lnTo>
                <a:lnTo>
                  <a:pt x="690" y="959"/>
                </a:lnTo>
                <a:lnTo>
                  <a:pt x="675" y="948"/>
                </a:lnTo>
                <a:lnTo>
                  <a:pt x="662" y="935"/>
                </a:lnTo>
                <a:lnTo>
                  <a:pt x="649" y="922"/>
                </a:lnTo>
                <a:lnTo>
                  <a:pt x="644" y="914"/>
                </a:lnTo>
                <a:lnTo>
                  <a:pt x="638" y="907"/>
                </a:lnTo>
                <a:lnTo>
                  <a:pt x="628" y="891"/>
                </a:lnTo>
                <a:lnTo>
                  <a:pt x="624" y="883"/>
                </a:lnTo>
                <a:lnTo>
                  <a:pt x="621" y="875"/>
                </a:lnTo>
                <a:lnTo>
                  <a:pt x="617" y="866"/>
                </a:lnTo>
                <a:lnTo>
                  <a:pt x="615" y="857"/>
                </a:lnTo>
                <a:lnTo>
                  <a:pt x="612" y="847"/>
                </a:lnTo>
                <a:lnTo>
                  <a:pt x="610" y="839"/>
                </a:lnTo>
                <a:lnTo>
                  <a:pt x="607" y="819"/>
                </a:lnTo>
                <a:lnTo>
                  <a:pt x="606" y="800"/>
                </a:lnTo>
                <a:lnTo>
                  <a:pt x="607" y="781"/>
                </a:lnTo>
                <a:lnTo>
                  <a:pt x="608" y="771"/>
                </a:lnTo>
                <a:lnTo>
                  <a:pt x="610" y="761"/>
                </a:lnTo>
                <a:lnTo>
                  <a:pt x="612" y="752"/>
                </a:lnTo>
                <a:lnTo>
                  <a:pt x="615" y="743"/>
                </a:lnTo>
                <a:lnTo>
                  <a:pt x="621" y="725"/>
                </a:lnTo>
                <a:lnTo>
                  <a:pt x="628" y="709"/>
                </a:lnTo>
                <a:lnTo>
                  <a:pt x="638" y="693"/>
                </a:lnTo>
                <a:lnTo>
                  <a:pt x="649" y="678"/>
                </a:lnTo>
                <a:lnTo>
                  <a:pt x="662" y="664"/>
                </a:lnTo>
                <a:lnTo>
                  <a:pt x="675" y="652"/>
                </a:lnTo>
                <a:lnTo>
                  <a:pt x="683" y="647"/>
                </a:lnTo>
                <a:lnTo>
                  <a:pt x="690" y="641"/>
                </a:lnTo>
                <a:lnTo>
                  <a:pt x="706" y="632"/>
                </a:lnTo>
                <a:lnTo>
                  <a:pt x="714" y="627"/>
                </a:lnTo>
                <a:lnTo>
                  <a:pt x="722" y="623"/>
                </a:lnTo>
                <a:lnTo>
                  <a:pt x="740" y="617"/>
                </a:lnTo>
                <a:lnTo>
                  <a:pt x="749" y="615"/>
                </a:lnTo>
                <a:lnTo>
                  <a:pt x="758" y="612"/>
                </a:lnTo>
                <a:lnTo>
                  <a:pt x="768" y="611"/>
                </a:lnTo>
                <a:lnTo>
                  <a:pt x="778" y="610"/>
                </a:lnTo>
                <a:lnTo>
                  <a:pt x="798" y="609"/>
                </a:lnTo>
                <a:close/>
                <a:moveTo>
                  <a:pt x="1169" y="1136"/>
                </a:moveTo>
                <a:lnTo>
                  <a:pt x="1486" y="1136"/>
                </a:lnTo>
                <a:lnTo>
                  <a:pt x="1486" y="1282"/>
                </a:lnTo>
                <a:lnTo>
                  <a:pt x="1491" y="1282"/>
                </a:lnTo>
                <a:lnTo>
                  <a:pt x="1499" y="1266"/>
                </a:lnTo>
                <a:lnTo>
                  <a:pt x="1509" y="1249"/>
                </a:lnTo>
                <a:lnTo>
                  <a:pt x="1515" y="1242"/>
                </a:lnTo>
                <a:lnTo>
                  <a:pt x="1521" y="1235"/>
                </a:lnTo>
                <a:lnTo>
                  <a:pt x="1535" y="1220"/>
                </a:lnTo>
                <a:lnTo>
                  <a:pt x="1550" y="1205"/>
                </a:lnTo>
                <a:lnTo>
                  <a:pt x="1566" y="1190"/>
                </a:lnTo>
                <a:lnTo>
                  <a:pt x="1583" y="1176"/>
                </a:lnTo>
                <a:lnTo>
                  <a:pt x="1602" y="1164"/>
                </a:lnTo>
                <a:lnTo>
                  <a:pt x="1623" y="1153"/>
                </a:lnTo>
                <a:lnTo>
                  <a:pt x="1644" y="1142"/>
                </a:lnTo>
                <a:lnTo>
                  <a:pt x="1656" y="1137"/>
                </a:lnTo>
                <a:lnTo>
                  <a:pt x="1667" y="1133"/>
                </a:lnTo>
                <a:lnTo>
                  <a:pt x="1692" y="1125"/>
                </a:lnTo>
                <a:lnTo>
                  <a:pt x="1705" y="1122"/>
                </a:lnTo>
                <a:lnTo>
                  <a:pt x="1718" y="1118"/>
                </a:lnTo>
                <a:lnTo>
                  <a:pt x="1731" y="1116"/>
                </a:lnTo>
                <a:lnTo>
                  <a:pt x="1744" y="1113"/>
                </a:lnTo>
                <a:lnTo>
                  <a:pt x="1759" y="1112"/>
                </a:lnTo>
                <a:lnTo>
                  <a:pt x="1773" y="1111"/>
                </a:lnTo>
                <a:lnTo>
                  <a:pt x="1802" y="1110"/>
                </a:lnTo>
                <a:lnTo>
                  <a:pt x="1833" y="1111"/>
                </a:lnTo>
                <a:lnTo>
                  <a:pt x="1848" y="1111"/>
                </a:lnTo>
                <a:lnTo>
                  <a:pt x="1862" y="1112"/>
                </a:lnTo>
                <a:lnTo>
                  <a:pt x="1889" y="1116"/>
                </a:lnTo>
                <a:lnTo>
                  <a:pt x="1915" y="1120"/>
                </a:lnTo>
                <a:lnTo>
                  <a:pt x="1927" y="1122"/>
                </a:lnTo>
                <a:lnTo>
                  <a:pt x="1940" y="1126"/>
                </a:lnTo>
                <a:lnTo>
                  <a:pt x="1963" y="1132"/>
                </a:lnTo>
                <a:lnTo>
                  <a:pt x="1984" y="1139"/>
                </a:lnTo>
                <a:lnTo>
                  <a:pt x="2005" y="1149"/>
                </a:lnTo>
                <a:lnTo>
                  <a:pt x="2024" y="1159"/>
                </a:lnTo>
                <a:lnTo>
                  <a:pt x="2042" y="1169"/>
                </a:lnTo>
                <a:lnTo>
                  <a:pt x="2051" y="1175"/>
                </a:lnTo>
                <a:lnTo>
                  <a:pt x="2058" y="1181"/>
                </a:lnTo>
                <a:lnTo>
                  <a:pt x="2067" y="1188"/>
                </a:lnTo>
                <a:lnTo>
                  <a:pt x="2075" y="1195"/>
                </a:lnTo>
                <a:lnTo>
                  <a:pt x="2082" y="1201"/>
                </a:lnTo>
                <a:lnTo>
                  <a:pt x="2088" y="1209"/>
                </a:lnTo>
                <a:lnTo>
                  <a:pt x="2096" y="1216"/>
                </a:lnTo>
                <a:lnTo>
                  <a:pt x="2102" y="1223"/>
                </a:lnTo>
                <a:lnTo>
                  <a:pt x="2108" y="1231"/>
                </a:lnTo>
                <a:lnTo>
                  <a:pt x="2114" y="1240"/>
                </a:lnTo>
                <a:lnTo>
                  <a:pt x="2120" y="1247"/>
                </a:lnTo>
                <a:lnTo>
                  <a:pt x="2125" y="1256"/>
                </a:lnTo>
                <a:lnTo>
                  <a:pt x="2130" y="1264"/>
                </a:lnTo>
                <a:lnTo>
                  <a:pt x="2135" y="1273"/>
                </a:lnTo>
                <a:lnTo>
                  <a:pt x="2140" y="1282"/>
                </a:lnTo>
                <a:lnTo>
                  <a:pt x="2145" y="1292"/>
                </a:lnTo>
                <a:lnTo>
                  <a:pt x="2154" y="1310"/>
                </a:lnTo>
                <a:lnTo>
                  <a:pt x="2157" y="1320"/>
                </a:lnTo>
                <a:lnTo>
                  <a:pt x="2161" y="1330"/>
                </a:lnTo>
                <a:lnTo>
                  <a:pt x="2167" y="1351"/>
                </a:lnTo>
                <a:lnTo>
                  <a:pt x="2173" y="1372"/>
                </a:lnTo>
                <a:lnTo>
                  <a:pt x="2178" y="1393"/>
                </a:lnTo>
                <a:lnTo>
                  <a:pt x="2183" y="1417"/>
                </a:lnTo>
                <a:lnTo>
                  <a:pt x="2185" y="1428"/>
                </a:lnTo>
                <a:lnTo>
                  <a:pt x="2187" y="1439"/>
                </a:lnTo>
                <a:lnTo>
                  <a:pt x="2190" y="1462"/>
                </a:lnTo>
                <a:lnTo>
                  <a:pt x="2193" y="1487"/>
                </a:lnTo>
                <a:lnTo>
                  <a:pt x="2195" y="1512"/>
                </a:lnTo>
                <a:lnTo>
                  <a:pt x="2196" y="1538"/>
                </a:lnTo>
                <a:lnTo>
                  <a:pt x="2197" y="1563"/>
                </a:lnTo>
                <a:lnTo>
                  <a:pt x="2198" y="1588"/>
                </a:lnTo>
                <a:lnTo>
                  <a:pt x="2198" y="1616"/>
                </a:lnTo>
                <a:lnTo>
                  <a:pt x="2198" y="2198"/>
                </a:lnTo>
                <a:lnTo>
                  <a:pt x="1868" y="2198"/>
                </a:lnTo>
                <a:lnTo>
                  <a:pt x="1868" y="1681"/>
                </a:lnTo>
                <a:lnTo>
                  <a:pt x="1868" y="1634"/>
                </a:lnTo>
                <a:lnTo>
                  <a:pt x="1867" y="1610"/>
                </a:lnTo>
                <a:lnTo>
                  <a:pt x="1865" y="1586"/>
                </a:lnTo>
                <a:lnTo>
                  <a:pt x="1864" y="1574"/>
                </a:lnTo>
                <a:lnTo>
                  <a:pt x="1863" y="1561"/>
                </a:lnTo>
                <a:lnTo>
                  <a:pt x="1858" y="1539"/>
                </a:lnTo>
                <a:lnTo>
                  <a:pt x="1856" y="1527"/>
                </a:lnTo>
                <a:lnTo>
                  <a:pt x="1853" y="1515"/>
                </a:lnTo>
                <a:lnTo>
                  <a:pt x="1849" y="1506"/>
                </a:lnTo>
                <a:lnTo>
                  <a:pt x="1846" y="1494"/>
                </a:lnTo>
                <a:lnTo>
                  <a:pt x="1842" y="1485"/>
                </a:lnTo>
                <a:lnTo>
                  <a:pt x="1837" y="1475"/>
                </a:lnTo>
                <a:lnTo>
                  <a:pt x="1831" y="1466"/>
                </a:lnTo>
                <a:lnTo>
                  <a:pt x="1826" y="1457"/>
                </a:lnTo>
                <a:lnTo>
                  <a:pt x="1818" y="1449"/>
                </a:lnTo>
                <a:lnTo>
                  <a:pt x="1811" y="1441"/>
                </a:lnTo>
                <a:lnTo>
                  <a:pt x="1804" y="1434"/>
                </a:lnTo>
                <a:lnTo>
                  <a:pt x="1800" y="1430"/>
                </a:lnTo>
                <a:lnTo>
                  <a:pt x="1795" y="1426"/>
                </a:lnTo>
                <a:lnTo>
                  <a:pt x="1785" y="1421"/>
                </a:lnTo>
                <a:lnTo>
                  <a:pt x="1775" y="1415"/>
                </a:lnTo>
                <a:lnTo>
                  <a:pt x="1764" y="1412"/>
                </a:lnTo>
                <a:lnTo>
                  <a:pt x="1759" y="1409"/>
                </a:lnTo>
                <a:lnTo>
                  <a:pt x="1753" y="1407"/>
                </a:lnTo>
                <a:lnTo>
                  <a:pt x="1740" y="1404"/>
                </a:lnTo>
                <a:lnTo>
                  <a:pt x="1727" y="1402"/>
                </a:lnTo>
                <a:lnTo>
                  <a:pt x="1712" y="1400"/>
                </a:lnTo>
                <a:lnTo>
                  <a:pt x="1697" y="1400"/>
                </a:lnTo>
                <a:lnTo>
                  <a:pt x="1681" y="1400"/>
                </a:lnTo>
                <a:lnTo>
                  <a:pt x="1666" y="1402"/>
                </a:lnTo>
                <a:lnTo>
                  <a:pt x="1653" y="1404"/>
                </a:lnTo>
                <a:lnTo>
                  <a:pt x="1639" y="1407"/>
                </a:lnTo>
                <a:lnTo>
                  <a:pt x="1627" y="1409"/>
                </a:lnTo>
                <a:lnTo>
                  <a:pt x="1614" y="1414"/>
                </a:lnTo>
                <a:lnTo>
                  <a:pt x="1603" y="1418"/>
                </a:lnTo>
                <a:lnTo>
                  <a:pt x="1593" y="1423"/>
                </a:lnTo>
                <a:lnTo>
                  <a:pt x="1583" y="1429"/>
                </a:lnTo>
                <a:lnTo>
                  <a:pt x="1580" y="1433"/>
                </a:lnTo>
                <a:lnTo>
                  <a:pt x="1575" y="1435"/>
                </a:lnTo>
                <a:lnTo>
                  <a:pt x="1566" y="1442"/>
                </a:lnTo>
                <a:lnTo>
                  <a:pt x="1559" y="1450"/>
                </a:lnTo>
                <a:lnTo>
                  <a:pt x="1551" y="1457"/>
                </a:lnTo>
                <a:lnTo>
                  <a:pt x="1545" y="1466"/>
                </a:lnTo>
                <a:lnTo>
                  <a:pt x="1539" y="1475"/>
                </a:lnTo>
                <a:lnTo>
                  <a:pt x="1534" y="1485"/>
                </a:lnTo>
                <a:lnTo>
                  <a:pt x="1529" y="1494"/>
                </a:lnTo>
                <a:lnTo>
                  <a:pt x="1524" y="1504"/>
                </a:lnTo>
                <a:lnTo>
                  <a:pt x="1520" y="1515"/>
                </a:lnTo>
                <a:lnTo>
                  <a:pt x="1517" y="1525"/>
                </a:lnTo>
                <a:lnTo>
                  <a:pt x="1513" y="1537"/>
                </a:lnTo>
                <a:lnTo>
                  <a:pt x="1510" y="1548"/>
                </a:lnTo>
                <a:lnTo>
                  <a:pt x="1508" y="1560"/>
                </a:lnTo>
                <a:lnTo>
                  <a:pt x="1505" y="1572"/>
                </a:lnTo>
                <a:lnTo>
                  <a:pt x="1504" y="1584"/>
                </a:lnTo>
                <a:lnTo>
                  <a:pt x="1503" y="1596"/>
                </a:lnTo>
                <a:lnTo>
                  <a:pt x="1500" y="1622"/>
                </a:lnTo>
                <a:lnTo>
                  <a:pt x="1499" y="1647"/>
                </a:lnTo>
                <a:lnTo>
                  <a:pt x="1499" y="1673"/>
                </a:lnTo>
                <a:lnTo>
                  <a:pt x="1499" y="2198"/>
                </a:lnTo>
                <a:lnTo>
                  <a:pt x="1169" y="2198"/>
                </a:lnTo>
                <a:lnTo>
                  <a:pt x="1169" y="1666"/>
                </a:lnTo>
                <a:lnTo>
                  <a:pt x="1169" y="1136"/>
                </a:lnTo>
                <a:close/>
                <a:moveTo>
                  <a:pt x="0" y="0"/>
                </a:moveTo>
                <a:lnTo>
                  <a:pt x="700" y="0"/>
                </a:lnTo>
                <a:lnTo>
                  <a:pt x="1401" y="0"/>
                </a:lnTo>
                <a:lnTo>
                  <a:pt x="2103" y="0"/>
                </a:lnTo>
                <a:lnTo>
                  <a:pt x="2804" y="0"/>
                </a:lnTo>
                <a:lnTo>
                  <a:pt x="2804" y="701"/>
                </a:lnTo>
                <a:lnTo>
                  <a:pt x="2804" y="1403"/>
                </a:lnTo>
                <a:lnTo>
                  <a:pt x="2804" y="2104"/>
                </a:lnTo>
                <a:lnTo>
                  <a:pt x="2804" y="2806"/>
                </a:lnTo>
                <a:lnTo>
                  <a:pt x="2103" y="2806"/>
                </a:lnTo>
                <a:lnTo>
                  <a:pt x="1401" y="2806"/>
                </a:lnTo>
                <a:lnTo>
                  <a:pt x="700" y="2806"/>
                </a:lnTo>
                <a:lnTo>
                  <a:pt x="0" y="2806"/>
                </a:lnTo>
                <a:lnTo>
                  <a:pt x="0" y="2104"/>
                </a:lnTo>
                <a:lnTo>
                  <a:pt x="0" y="1403"/>
                </a:lnTo>
                <a:lnTo>
                  <a:pt x="0" y="701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0201" tIns="40100" rIns="80201" bIns="40100" numCol="1" anchor="t" anchorCtr="0" compatLnSpc="1">
            <a:prstTxWarp prst="textNoShape">
              <a:avLst/>
            </a:prstTxWarp>
          </a:bodyPr>
          <a:lstStyle/>
          <a:p>
            <a:endParaRPr lang="en-GB" sz="1579"/>
          </a:p>
        </p:txBody>
      </p:sp>
      <p:sp>
        <p:nvSpPr>
          <p:cNvPr id="18" name="Text Placehold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736564" y="6083543"/>
            <a:ext cx="9220273" cy="635489"/>
          </a:xfrm>
        </p:spPr>
        <p:txBody>
          <a:bodyPr/>
          <a:lstStyle>
            <a:lvl1pPr marL="0" indent="0" algn="ctr">
              <a:spcBef>
                <a:spcPts val="175"/>
              </a:spcBef>
              <a:buFontTx/>
              <a:buNone/>
              <a:defRPr sz="1403" b="0"/>
            </a:lvl1pPr>
            <a:lvl2pPr marL="0" indent="0" algn="ctr">
              <a:spcBef>
                <a:spcPts val="175"/>
              </a:spcBef>
              <a:buFontTx/>
              <a:buNone/>
              <a:defRPr sz="1228"/>
            </a:lvl2pPr>
            <a:lvl3pPr marL="0" indent="0" algn="ctr">
              <a:spcBef>
                <a:spcPts val="175"/>
              </a:spcBef>
              <a:buFontTx/>
              <a:buNone/>
              <a:defRPr sz="877"/>
            </a:lvl3pPr>
            <a:lvl4pPr marL="0" indent="0" algn="ctr">
              <a:spcBef>
                <a:spcPts val="175"/>
              </a:spcBef>
              <a:buFontTx/>
              <a:buNone/>
              <a:defRPr sz="877"/>
            </a:lvl4pPr>
            <a:lvl5pPr marL="0" indent="0" algn="ctr">
              <a:spcBef>
                <a:spcPts val="175"/>
              </a:spcBef>
              <a:buFontTx/>
              <a:buNone/>
              <a:defRPr sz="877"/>
            </a:lvl5pPr>
          </a:lstStyle>
          <a:p>
            <a:pPr lvl="0"/>
            <a:r>
              <a:rPr lang="en-US"/>
              <a:t>Your contact detail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98594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 Neg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5171" y="1874958"/>
            <a:ext cx="9221666" cy="1747650"/>
          </a:xfrm>
        </p:spPr>
        <p:txBody>
          <a:bodyPr anchor="b" anchorCtr="0"/>
          <a:lstStyle>
            <a:lvl1pPr algn="ctr">
              <a:defRPr sz="5263" spc="-263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hank you Text.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18A88406-AA02-4DBD-B854-3A9DF03E8FF2}" type="datetime1">
              <a:rPr lang="fi-FI" smtClean="0"/>
              <a:t>22.5.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LASSIFICATION  /  PRESENTATION  /  AUTHO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9B8CDF1A-3CDE-4195-AF23-CDCF2878DEB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reeform 6"/>
          <p:cNvSpPr>
            <a:spLocks noChangeAspect="1" noEditPoints="1"/>
          </p:cNvSpPr>
          <p:nvPr/>
        </p:nvSpPr>
        <p:spPr bwMode="auto">
          <a:xfrm>
            <a:off x="4715200" y="4733785"/>
            <a:ext cx="1263000" cy="296853"/>
          </a:xfrm>
          <a:custGeom>
            <a:avLst/>
            <a:gdLst>
              <a:gd name="T0" fmla="*/ 1828 w 5971"/>
              <a:gd name="T1" fmla="*/ 967 h 1115"/>
              <a:gd name="T2" fmla="*/ 1577 w 5971"/>
              <a:gd name="T3" fmla="*/ 1104 h 1115"/>
              <a:gd name="T4" fmla="*/ 1259 w 5971"/>
              <a:gd name="T5" fmla="*/ 1080 h 1115"/>
              <a:gd name="T6" fmla="*/ 1071 w 5971"/>
              <a:gd name="T7" fmla="*/ 932 h 1115"/>
              <a:gd name="T8" fmla="*/ 982 w 5971"/>
              <a:gd name="T9" fmla="*/ 665 h 1115"/>
              <a:gd name="T10" fmla="*/ 1023 w 5971"/>
              <a:gd name="T11" fmla="*/ 275 h 1115"/>
              <a:gd name="T12" fmla="*/ 1229 w 5971"/>
              <a:gd name="T13" fmla="*/ 49 h 1115"/>
              <a:gd name="T14" fmla="*/ 1509 w 5971"/>
              <a:gd name="T15" fmla="*/ 2 h 1115"/>
              <a:gd name="T16" fmla="*/ 1768 w 5971"/>
              <a:gd name="T17" fmla="*/ 97 h 1115"/>
              <a:gd name="T18" fmla="*/ 1906 w 5971"/>
              <a:gd name="T19" fmla="*/ 301 h 1115"/>
              <a:gd name="T20" fmla="*/ 1244 w 5971"/>
              <a:gd name="T21" fmla="*/ 631 h 1115"/>
              <a:gd name="T22" fmla="*/ 1303 w 5971"/>
              <a:gd name="T23" fmla="*/ 811 h 1115"/>
              <a:gd name="T24" fmla="*/ 1447 w 5971"/>
              <a:gd name="T25" fmla="*/ 878 h 1115"/>
              <a:gd name="T26" fmla="*/ 1604 w 5971"/>
              <a:gd name="T27" fmla="*/ 831 h 1115"/>
              <a:gd name="T28" fmla="*/ 1414 w 5971"/>
              <a:gd name="T29" fmla="*/ 221 h 1115"/>
              <a:gd name="T30" fmla="*/ 1286 w 5971"/>
              <a:gd name="T31" fmla="*/ 320 h 1115"/>
              <a:gd name="T32" fmla="*/ 1617 w 5971"/>
              <a:gd name="T33" fmla="*/ 291 h 1115"/>
              <a:gd name="T34" fmla="*/ 1485 w 5971"/>
              <a:gd name="T35" fmla="*/ 218 h 1115"/>
              <a:gd name="T36" fmla="*/ 5660 w 5971"/>
              <a:gd name="T37" fmla="*/ 267 h 1115"/>
              <a:gd name="T38" fmla="*/ 5465 w 5971"/>
              <a:gd name="T39" fmla="*/ 238 h 1115"/>
              <a:gd name="T40" fmla="*/ 5360 w 5971"/>
              <a:gd name="T41" fmla="*/ 336 h 1115"/>
              <a:gd name="T42" fmla="*/ 5199 w 5971"/>
              <a:gd name="T43" fmla="*/ 121 h 1115"/>
              <a:gd name="T44" fmla="*/ 5408 w 5971"/>
              <a:gd name="T45" fmla="*/ 12 h 1115"/>
              <a:gd name="T46" fmla="*/ 5710 w 5971"/>
              <a:gd name="T47" fmla="*/ 28 h 1115"/>
              <a:gd name="T48" fmla="*/ 5929 w 5971"/>
              <a:gd name="T49" fmla="*/ 203 h 1115"/>
              <a:gd name="T50" fmla="*/ 5970 w 5971"/>
              <a:gd name="T51" fmla="*/ 1093 h 1115"/>
              <a:gd name="T52" fmla="*/ 5218 w 5971"/>
              <a:gd name="T53" fmla="*/ 1049 h 1115"/>
              <a:gd name="T54" fmla="*/ 5061 w 5971"/>
              <a:gd name="T55" fmla="*/ 867 h 1115"/>
              <a:gd name="T56" fmla="*/ 5080 w 5971"/>
              <a:gd name="T57" fmla="*/ 611 h 1115"/>
              <a:gd name="T58" fmla="*/ 5265 w 5971"/>
              <a:gd name="T59" fmla="*/ 438 h 1115"/>
              <a:gd name="T60" fmla="*/ 5400 w 5971"/>
              <a:gd name="T61" fmla="*/ 636 h 1115"/>
              <a:gd name="T62" fmla="*/ 5304 w 5971"/>
              <a:gd name="T63" fmla="*/ 739 h 1115"/>
              <a:gd name="T64" fmla="*/ 5388 w 5971"/>
              <a:gd name="T65" fmla="*/ 861 h 1115"/>
              <a:gd name="T66" fmla="*/ 383 w 5971"/>
              <a:gd name="T67" fmla="*/ 349 h 1115"/>
              <a:gd name="T68" fmla="*/ 580 w 5971"/>
              <a:gd name="T69" fmla="*/ 87 h 1115"/>
              <a:gd name="T70" fmla="*/ 777 w 5971"/>
              <a:gd name="T71" fmla="*/ 235 h 1115"/>
              <a:gd name="T72" fmla="*/ 568 w 5971"/>
              <a:gd name="T73" fmla="*/ 507 h 1115"/>
              <a:gd name="T74" fmla="*/ 701 w 5971"/>
              <a:gd name="T75" fmla="*/ 724 h 1115"/>
              <a:gd name="T76" fmla="*/ 839 w 5971"/>
              <a:gd name="T77" fmla="*/ 1038 h 1115"/>
              <a:gd name="T78" fmla="*/ 504 w 5971"/>
              <a:gd name="T79" fmla="*/ 869 h 1115"/>
              <a:gd name="T80" fmla="*/ 305 w 5971"/>
              <a:gd name="T81" fmla="*/ 699 h 1115"/>
              <a:gd name="T82" fmla="*/ 3168 w 5971"/>
              <a:gd name="T83" fmla="*/ 349 h 1115"/>
              <a:gd name="T84" fmla="*/ 3082 w 5971"/>
              <a:gd name="T85" fmla="*/ 241 h 1115"/>
              <a:gd name="T86" fmla="*/ 2946 w 5971"/>
              <a:gd name="T87" fmla="*/ 287 h 1115"/>
              <a:gd name="T88" fmla="*/ 2664 w 5971"/>
              <a:gd name="T89" fmla="*/ 326 h 1115"/>
              <a:gd name="T90" fmla="*/ 2571 w 5971"/>
              <a:gd name="T91" fmla="*/ 238 h 1115"/>
              <a:gd name="T92" fmla="*/ 2438 w 5971"/>
              <a:gd name="T93" fmla="*/ 301 h 1115"/>
              <a:gd name="T94" fmla="*/ 2179 w 5971"/>
              <a:gd name="T95" fmla="*/ 275 h 1115"/>
              <a:gd name="T96" fmla="*/ 2295 w 5971"/>
              <a:gd name="T97" fmla="*/ 83 h 1115"/>
              <a:gd name="T98" fmla="*/ 2569 w 5971"/>
              <a:gd name="T99" fmla="*/ 1 h 1115"/>
              <a:gd name="T100" fmla="*/ 2793 w 5971"/>
              <a:gd name="T101" fmla="*/ 82 h 1115"/>
              <a:gd name="T102" fmla="*/ 3004 w 5971"/>
              <a:gd name="T103" fmla="*/ 2 h 1115"/>
              <a:gd name="T104" fmla="*/ 3267 w 5971"/>
              <a:gd name="T105" fmla="*/ 63 h 1115"/>
              <a:gd name="T106" fmla="*/ 3412 w 5971"/>
              <a:gd name="T107" fmla="*/ 275 h 1115"/>
              <a:gd name="T108" fmla="*/ 4279 w 5971"/>
              <a:gd name="T109" fmla="*/ 253 h 1115"/>
              <a:gd name="T110" fmla="*/ 4418 w 5971"/>
              <a:gd name="T111" fmla="*/ 61 h 1115"/>
              <a:gd name="T112" fmla="*/ 4711 w 5971"/>
              <a:gd name="T113" fmla="*/ 5 h 1115"/>
              <a:gd name="T114" fmla="*/ 4940 w 5971"/>
              <a:gd name="T115" fmla="*/ 120 h 1115"/>
              <a:gd name="T116" fmla="*/ 5020 w 5971"/>
              <a:gd name="T117" fmla="*/ 336 h 1115"/>
              <a:gd name="T118" fmla="*/ 4688 w 5971"/>
              <a:gd name="T119" fmla="*/ 242 h 1115"/>
              <a:gd name="T120" fmla="*/ 4552 w 5971"/>
              <a:gd name="T121" fmla="*/ 272 h 1115"/>
              <a:gd name="T122" fmla="*/ 3716 w 5971"/>
              <a:gd name="T123" fmla="*/ 556 h 11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971" h="1115">
                <a:moveTo>
                  <a:pt x="1929" y="765"/>
                </a:moveTo>
                <a:lnTo>
                  <a:pt x="1926" y="777"/>
                </a:lnTo>
                <a:lnTo>
                  <a:pt x="1923" y="788"/>
                </a:lnTo>
                <a:lnTo>
                  <a:pt x="1921" y="798"/>
                </a:lnTo>
                <a:lnTo>
                  <a:pt x="1917" y="809"/>
                </a:lnTo>
                <a:lnTo>
                  <a:pt x="1911" y="829"/>
                </a:lnTo>
                <a:lnTo>
                  <a:pt x="1903" y="849"/>
                </a:lnTo>
                <a:lnTo>
                  <a:pt x="1895" y="868"/>
                </a:lnTo>
                <a:lnTo>
                  <a:pt x="1886" y="887"/>
                </a:lnTo>
                <a:lnTo>
                  <a:pt x="1881" y="896"/>
                </a:lnTo>
                <a:lnTo>
                  <a:pt x="1876" y="905"/>
                </a:lnTo>
                <a:lnTo>
                  <a:pt x="1865" y="921"/>
                </a:lnTo>
                <a:lnTo>
                  <a:pt x="1854" y="937"/>
                </a:lnTo>
                <a:lnTo>
                  <a:pt x="1842" y="952"/>
                </a:lnTo>
                <a:lnTo>
                  <a:pt x="1828" y="967"/>
                </a:lnTo>
                <a:lnTo>
                  <a:pt x="1815" y="981"/>
                </a:lnTo>
                <a:lnTo>
                  <a:pt x="1801" y="995"/>
                </a:lnTo>
                <a:lnTo>
                  <a:pt x="1787" y="1007"/>
                </a:lnTo>
                <a:lnTo>
                  <a:pt x="1771" y="1019"/>
                </a:lnTo>
                <a:lnTo>
                  <a:pt x="1756" y="1030"/>
                </a:lnTo>
                <a:lnTo>
                  <a:pt x="1740" y="1040"/>
                </a:lnTo>
                <a:lnTo>
                  <a:pt x="1723" y="1050"/>
                </a:lnTo>
                <a:lnTo>
                  <a:pt x="1707" y="1059"/>
                </a:lnTo>
                <a:lnTo>
                  <a:pt x="1689" y="1067"/>
                </a:lnTo>
                <a:lnTo>
                  <a:pt x="1671" y="1075"/>
                </a:lnTo>
                <a:lnTo>
                  <a:pt x="1653" y="1083"/>
                </a:lnTo>
                <a:lnTo>
                  <a:pt x="1634" y="1088"/>
                </a:lnTo>
                <a:lnTo>
                  <a:pt x="1616" y="1094"/>
                </a:lnTo>
                <a:lnTo>
                  <a:pt x="1597" y="1099"/>
                </a:lnTo>
                <a:lnTo>
                  <a:pt x="1577" y="1104"/>
                </a:lnTo>
                <a:lnTo>
                  <a:pt x="1558" y="1107"/>
                </a:lnTo>
                <a:lnTo>
                  <a:pt x="1538" y="1109"/>
                </a:lnTo>
                <a:lnTo>
                  <a:pt x="1519" y="1112"/>
                </a:lnTo>
                <a:lnTo>
                  <a:pt x="1499" y="1114"/>
                </a:lnTo>
                <a:lnTo>
                  <a:pt x="1479" y="1115"/>
                </a:lnTo>
                <a:lnTo>
                  <a:pt x="1459" y="1115"/>
                </a:lnTo>
                <a:lnTo>
                  <a:pt x="1434" y="1115"/>
                </a:lnTo>
                <a:lnTo>
                  <a:pt x="1409" y="1113"/>
                </a:lnTo>
                <a:lnTo>
                  <a:pt x="1385" y="1111"/>
                </a:lnTo>
                <a:lnTo>
                  <a:pt x="1361" y="1107"/>
                </a:lnTo>
                <a:lnTo>
                  <a:pt x="1337" y="1104"/>
                </a:lnTo>
                <a:lnTo>
                  <a:pt x="1315" y="1098"/>
                </a:lnTo>
                <a:lnTo>
                  <a:pt x="1292" y="1092"/>
                </a:lnTo>
                <a:lnTo>
                  <a:pt x="1271" y="1085"/>
                </a:lnTo>
                <a:lnTo>
                  <a:pt x="1259" y="1080"/>
                </a:lnTo>
                <a:lnTo>
                  <a:pt x="1249" y="1076"/>
                </a:lnTo>
                <a:lnTo>
                  <a:pt x="1228" y="1067"/>
                </a:lnTo>
                <a:lnTo>
                  <a:pt x="1208" y="1057"/>
                </a:lnTo>
                <a:lnTo>
                  <a:pt x="1188" y="1045"/>
                </a:lnTo>
                <a:lnTo>
                  <a:pt x="1169" y="1033"/>
                </a:lnTo>
                <a:lnTo>
                  <a:pt x="1151" y="1019"/>
                </a:lnTo>
                <a:lnTo>
                  <a:pt x="1133" y="1004"/>
                </a:lnTo>
                <a:lnTo>
                  <a:pt x="1124" y="996"/>
                </a:lnTo>
                <a:lnTo>
                  <a:pt x="1117" y="988"/>
                </a:lnTo>
                <a:lnTo>
                  <a:pt x="1109" y="979"/>
                </a:lnTo>
                <a:lnTo>
                  <a:pt x="1101" y="970"/>
                </a:lnTo>
                <a:lnTo>
                  <a:pt x="1093" y="961"/>
                </a:lnTo>
                <a:lnTo>
                  <a:pt x="1085" y="952"/>
                </a:lnTo>
                <a:lnTo>
                  <a:pt x="1079" y="942"/>
                </a:lnTo>
                <a:lnTo>
                  <a:pt x="1071" y="932"/>
                </a:lnTo>
                <a:lnTo>
                  <a:pt x="1064" y="922"/>
                </a:lnTo>
                <a:lnTo>
                  <a:pt x="1057" y="911"/>
                </a:lnTo>
                <a:lnTo>
                  <a:pt x="1045" y="889"/>
                </a:lnTo>
                <a:lnTo>
                  <a:pt x="1034" y="866"/>
                </a:lnTo>
                <a:lnTo>
                  <a:pt x="1028" y="853"/>
                </a:lnTo>
                <a:lnTo>
                  <a:pt x="1023" y="841"/>
                </a:lnTo>
                <a:lnTo>
                  <a:pt x="1013" y="816"/>
                </a:lnTo>
                <a:lnTo>
                  <a:pt x="1005" y="788"/>
                </a:lnTo>
                <a:lnTo>
                  <a:pt x="1001" y="774"/>
                </a:lnTo>
                <a:lnTo>
                  <a:pt x="997" y="760"/>
                </a:lnTo>
                <a:lnTo>
                  <a:pt x="991" y="730"/>
                </a:lnTo>
                <a:lnTo>
                  <a:pt x="988" y="714"/>
                </a:lnTo>
                <a:lnTo>
                  <a:pt x="985" y="699"/>
                </a:lnTo>
                <a:lnTo>
                  <a:pt x="983" y="682"/>
                </a:lnTo>
                <a:lnTo>
                  <a:pt x="982" y="665"/>
                </a:lnTo>
                <a:lnTo>
                  <a:pt x="978" y="632"/>
                </a:lnTo>
                <a:lnTo>
                  <a:pt x="976" y="596"/>
                </a:lnTo>
                <a:lnTo>
                  <a:pt x="976" y="560"/>
                </a:lnTo>
                <a:lnTo>
                  <a:pt x="976" y="522"/>
                </a:lnTo>
                <a:lnTo>
                  <a:pt x="977" y="504"/>
                </a:lnTo>
                <a:lnTo>
                  <a:pt x="978" y="486"/>
                </a:lnTo>
                <a:lnTo>
                  <a:pt x="982" y="452"/>
                </a:lnTo>
                <a:lnTo>
                  <a:pt x="983" y="435"/>
                </a:lnTo>
                <a:lnTo>
                  <a:pt x="985" y="419"/>
                </a:lnTo>
                <a:lnTo>
                  <a:pt x="991" y="387"/>
                </a:lnTo>
                <a:lnTo>
                  <a:pt x="997" y="357"/>
                </a:lnTo>
                <a:lnTo>
                  <a:pt x="1001" y="343"/>
                </a:lnTo>
                <a:lnTo>
                  <a:pt x="1005" y="328"/>
                </a:lnTo>
                <a:lnTo>
                  <a:pt x="1014" y="301"/>
                </a:lnTo>
                <a:lnTo>
                  <a:pt x="1023" y="275"/>
                </a:lnTo>
                <a:lnTo>
                  <a:pt x="1034" y="250"/>
                </a:lnTo>
                <a:lnTo>
                  <a:pt x="1040" y="238"/>
                </a:lnTo>
                <a:lnTo>
                  <a:pt x="1045" y="227"/>
                </a:lnTo>
                <a:lnTo>
                  <a:pt x="1059" y="204"/>
                </a:lnTo>
                <a:lnTo>
                  <a:pt x="1072" y="183"/>
                </a:lnTo>
                <a:lnTo>
                  <a:pt x="1086" y="163"/>
                </a:lnTo>
                <a:lnTo>
                  <a:pt x="1101" y="145"/>
                </a:lnTo>
                <a:lnTo>
                  <a:pt x="1118" y="128"/>
                </a:lnTo>
                <a:lnTo>
                  <a:pt x="1134" y="112"/>
                </a:lnTo>
                <a:lnTo>
                  <a:pt x="1151" y="97"/>
                </a:lnTo>
                <a:lnTo>
                  <a:pt x="1161" y="90"/>
                </a:lnTo>
                <a:lnTo>
                  <a:pt x="1170" y="83"/>
                </a:lnTo>
                <a:lnTo>
                  <a:pt x="1189" y="70"/>
                </a:lnTo>
                <a:lnTo>
                  <a:pt x="1208" y="59"/>
                </a:lnTo>
                <a:lnTo>
                  <a:pt x="1229" y="49"/>
                </a:lnTo>
                <a:lnTo>
                  <a:pt x="1249" y="39"/>
                </a:lnTo>
                <a:lnTo>
                  <a:pt x="1260" y="34"/>
                </a:lnTo>
                <a:lnTo>
                  <a:pt x="1272" y="31"/>
                </a:lnTo>
                <a:lnTo>
                  <a:pt x="1293" y="23"/>
                </a:lnTo>
                <a:lnTo>
                  <a:pt x="1304" y="20"/>
                </a:lnTo>
                <a:lnTo>
                  <a:pt x="1315" y="17"/>
                </a:lnTo>
                <a:lnTo>
                  <a:pt x="1339" y="12"/>
                </a:lnTo>
                <a:lnTo>
                  <a:pt x="1362" y="7"/>
                </a:lnTo>
                <a:lnTo>
                  <a:pt x="1374" y="5"/>
                </a:lnTo>
                <a:lnTo>
                  <a:pt x="1385" y="4"/>
                </a:lnTo>
                <a:lnTo>
                  <a:pt x="1410" y="2"/>
                </a:lnTo>
                <a:lnTo>
                  <a:pt x="1434" y="1"/>
                </a:lnTo>
                <a:lnTo>
                  <a:pt x="1460" y="0"/>
                </a:lnTo>
                <a:lnTo>
                  <a:pt x="1485" y="1"/>
                </a:lnTo>
                <a:lnTo>
                  <a:pt x="1509" y="2"/>
                </a:lnTo>
                <a:lnTo>
                  <a:pt x="1534" y="4"/>
                </a:lnTo>
                <a:lnTo>
                  <a:pt x="1557" y="7"/>
                </a:lnTo>
                <a:lnTo>
                  <a:pt x="1581" y="12"/>
                </a:lnTo>
                <a:lnTo>
                  <a:pt x="1604" y="17"/>
                </a:lnTo>
                <a:lnTo>
                  <a:pt x="1626" y="23"/>
                </a:lnTo>
                <a:lnTo>
                  <a:pt x="1649" y="31"/>
                </a:lnTo>
                <a:lnTo>
                  <a:pt x="1659" y="34"/>
                </a:lnTo>
                <a:lnTo>
                  <a:pt x="1670" y="39"/>
                </a:lnTo>
                <a:lnTo>
                  <a:pt x="1691" y="49"/>
                </a:lnTo>
                <a:lnTo>
                  <a:pt x="1701" y="53"/>
                </a:lnTo>
                <a:lnTo>
                  <a:pt x="1711" y="59"/>
                </a:lnTo>
                <a:lnTo>
                  <a:pt x="1721" y="64"/>
                </a:lnTo>
                <a:lnTo>
                  <a:pt x="1730" y="70"/>
                </a:lnTo>
                <a:lnTo>
                  <a:pt x="1749" y="83"/>
                </a:lnTo>
                <a:lnTo>
                  <a:pt x="1768" y="97"/>
                </a:lnTo>
                <a:lnTo>
                  <a:pt x="1786" y="112"/>
                </a:lnTo>
                <a:lnTo>
                  <a:pt x="1794" y="120"/>
                </a:lnTo>
                <a:lnTo>
                  <a:pt x="1803" y="128"/>
                </a:lnTo>
                <a:lnTo>
                  <a:pt x="1810" y="137"/>
                </a:lnTo>
                <a:lnTo>
                  <a:pt x="1818" y="145"/>
                </a:lnTo>
                <a:lnTo>
                  <a:pt x="1826" y="154"/>
                </a:lnTo>
                <a:lnTo>
                  <a:pt x="1834" y="163"/>
                </a:lnTo>
                <a:lnTo>
                  <a:pt x="1848" y="183"/>
                </a:lnTo>
                <a:lnTo>
                  <a:pt x="1855" y="193"/>
                </a:lnTo>
                <a:lnTo>
                  <a:pt x="1862" y="204"/>
                </a:lnTo>
                <a:lnTo>
                  <a:pt x="1867" y="216"/>
                </a:lnTo>
                <a:lnTo>
                  <a:pt x="1874" y="227"/>
                </a:lnTo>
                <a:lnTo>
                  <a:pt x="1885" y="250"/>
                </a:lnTo>
                <a:lnTo>
                  <a:pt x="1896" y="275"/>
                </a:lnTo>
                <a:lnTo>
                  <a:pt x="1906" y="301"/>
                </a:lnTo>
                <a:lnTo>
                  <a:pt x="1914" y="328"/>
                </a:lnTo>
                <a:lnTo>
                  <a:pt x="1919" y="343"/>
                </a:lnTo>
                <a:lnTo>
                  <a:pt x="1922" y="357"/>
                </a:lnTo>
                <a:lnTo>
                  <a:pt x="1929" y="387"/>
                </a:lnTo>
                <a:lnTo>
                  <a:pt x="1932" y="403"/>
                </a:lnTo>
                <a:lnTo>
                  <a:pt x="1934" y="419"/>
                </a:lnTo>
                <a:lnTo>
                  <a:pt x="1936" y="435"/>
                </a:lnTo>
                <a:lnTo>
                  <a:pt x="1939" y="452"/>
                </a:lnTo>
                <a:lnTo>
                  <a:pt x="1941" y="486"/>
                </a:lnTo>
                <a:lnTo>
                  <a:pt x="1943" y="522"/>
                </a:lnTo>
                <a:lnTo>
                  <a:pt x="1944" y="560"/>
                </a:lnTo>
                <a:lnTo>
                  <a:pt x="1943" y="589"/>
                </a:lnTo>
                <a:lnTo>
                  <a:pt x="1942" y="617"/>
                </a:lnTo>
                <a:lnTo>
                  <a:pt x="1942" y="631"/>
                </a:lnTo>
                <a:lnTo>
                  <a:pt x="1244" y="631"/>
                </a:lnTo>
                <a:lnTo>
                  <a:pt x="1245" y="644"/>
                </a:lnTo>
                <a:lnTo>
                  <a:pt x="1246" y="659"/>
                </a:lnTo>
                <a:lnTo>
                  <a:pt x="1247" y="671"/>
                </a:lnTo>
                <a:lnTo>
                  <a:pt x="1249" y="684"/>
                </a:lnTo>
                <a:lnTo>
                  <a:pt x="1252" y="696"/>
                </a:lnTo>
                <a:lnTo>
                  <a:pt x="1254" y="709"/>
                </a:lnTo>
                <a:lnTo>
                  <a:pt x="1260" y="732"/>
                </a:lnTo>
                <a:lnTo>
                  <a:pt x="1265" y="743"/>
                </a:lnTo>
                <a:lnTo>
                  <a:pt x="1269" y="754"/>
                </a:lnTo>
                <a:lnTo>
                  <a:pt x="1274" y="764"/>
                </a:lnTo>
                <a:lnTo>
                  <a:pt x="1278" y="774"/>
                </a:lnTo>
                <a:lnTo>
                  <a:pt x="1284" y="784"/>
                </a:lnTo>
                <a:lnTo>
                  <a:pt x="1289" y="793"/>
                </a:lnTo>
                <a:lnTo>
                  <a:pt x="1296" y="802"/>
                </a:lnTo>
                <a:lnTo>
                  <a:pt x="1303" y="811"/>
                </a:lnTo>
                <a:lnTo>
                  <a:pt x="1310" y="819"/>
                </a:lnTo>
                <a:lnTo>
                  <a:pt x="1316" y="827"/>
                </a:lnTo>
                <a:lnTo>
                  <a:pt x="1324" y="833"/>
                </a:lnTo>
                <a:lnTo>
                  <a:pt x="1332" y="840"/>
                </a:lnTo>
                <a:lnTo>
                  <a:pt x="1341" y="846"/>
                </a:lnTo>
                <a:lnTo>
                  <a:pt x="1350" y="851"/>
                </a:lnTo>
                <a:lnTo>
                  <a:pt x="1359" y="857"/>
                </a:lnTo>
                <a:lnTo>
                  <a:pt x="1369" y="861"/>
                </a:lnTo>
                <a:lnTo>
                  <a:pt x="1379" y="865"/>
                </a:lnTo>
                <a:lnTo>
                  <a:pt x="1389" y="869"/>
                </a:lnTo>
                <a:lnTo>
                  <a:pt x="1400" y="871"/>
                </a:lnTo>
                <a:lnTo>
                  <a:pt x="1411" y="875"/>
                </a:lnTo>
                <a:lnTo>
                  <a:pt x="1422" y="876"/>
                </a:lnTo>
                <a:lnTo>
                  <a:pt x="1434" y="878"/>
                </a:lnTo>
                <a:lnTo>
                  <a:pt x="1447" y="878"/>
                </a:lnTo>
                <a:lnTo>
                  <a:pt x="1459" y="879"/>
                </a:lnTo>
                <a:lnTo>
                  <a:pt x="1469" y="879"/>
                </a:lnTo>
                <a:lnTo>
                  <a:pt x="1479" y="878"/>
                </a:lnTo>
                <a:lnTo>
                  <a:pt x="1489" y="877"/>
                </a:lnTo>
                <a:lnTo>
                  <a:pt x="1498" y="876"/>
                </a:lnTo>
                <a:lnTo>
                  <a:pt x="1507" y="875"/>
                </a:lnTo>
                <a:lnTo>
                  <a:pt x="1516" y="872"/>
                </a:lnTo>
                <a:lnTo>
                  <a:pt x="1534" y="868"/>
                </a:lnTo>
                <a:lnTo>
                  <a:pt x="1549" y="862"/>
                </a:lnTo>
                <a:lnTo>
                  <a:pt x="1557" y="859"/>
                </a:lnTo>
                <a:lnTo>
                  <a:pt x="1565" y="856"/>
                </a:lnTo>
                <a:lnTo>
                  <a:pt x="1578" y="848"/>
                </a:lnTo>
                <a:lnTo>
                  <a:pt x="1585" y="845"/>
                </a:lnTo>
                <a:lnTo>
                  <a:pt x="1592" y="840"/>
                </a:lnTo>
                <a:lnTo>
                  <a:pt x="1604" y="831"/>
                </a:lnTo>
                <a:lnTo>
                  <a:pt x="1615" y="821"/>
                </a:lnTo>
                <a:lnTo>
                  <a:pt x="1625" y="811"/>
                </a:lnTo>
                <a:lnTo>
                  <a:pt x="1634" y="801"/>
                </a:lnTo>
                <a:lnTo>
                  <a:pt x="1642" y="790"/>
                </a:lnTo>
                <a:lnTo>
                  <a:pt x="1649" y="779"/>
                </a:lnTo>
                <a:lnTo>
                  <a:pt x="1652" y="773"/>
                </a:lnTo>
                <a:lnTo>
                  <a:pt x="1654" y="768"/>
                </a:lnTo>
                <a:lnTo>
                  <a:pt x="1660" y="757"/>
                </a:lnTo>
                <a:lnTo>
                  <a:pt x="1931" y="752"/>
                </a:lnTo>
                <a:lnTo>
                  <a:pt x="1929" y="765"/>
                </a:lnTo>
                <a:close/>
                <a:moveTo>
                  <a:pt x="1460" y="216"/>
                </a:moveTo>
                <a:lnTo>
                  <a:pt x="1449" y="217"/>
                </a:lnTo>
                <a:lnTo>
                  <a:pt x="1437" y="218"/>
                </a:lnTo>
                <a:lnTo>
                  <a:pt x="1426" y="219"/>
                </a:lnTo>
                <a:lnTo>
                  <a:pt x="1414" y="221"/>
                </a:lnTo>
                <a:lnTo>
                  <a:pt x="1404" y="223"/>
                </a:lnTo>
                <a:lnTo>
                  <a:pt x="1394" y="227"/>
                </a:lnTo>
                <a:lnTo>
                  <a:pt x="1384" y="230"/>
                </a:lnTo>
                <a:lnTo>
                  <a:pt x="1375" y="233"/>
                </a:lnTo>
                <a:lnTo>
                  <a:pt x="1366" y="238"/>
                </a:lnTo>
                <a:lnTo>
                  <a:pt x="1359" y="243"/>
                </a:lnTo>
                <a:lnTo>
                  <a:pt x="1351" y="248"/>
                </a:lnTo>
                <a:lnTo>
                  <a:pt x="1343" y="253"/>
                </a:lnTo>
                <a:lnTo>
                  <a:pt x="1335" y="259"/>
                </a:lnTo>
                <a:lnTo>
                  <a:pt x="1329" y="266"/>
                </a:lnTo>
                <a:lnTo>
                  <a:pt x="1316" y="278"/>
                </a:lnTo>
                <a:lnTo>
                  <a:pt x="1310" y="285"/>
                </a:lnTo>
                <a:lnTo>
                  <a:pt x="1305" y="291"/>
                </a:lnTo>
                <a:lnTo>
                  <a:pt x="1295" y="306"/>
                </a:lnTo>
                <a:lnTo>
                  <a:pt x="1286" y="320"/>
                </a:lnTo>
                <a:lnTo>
                  <a:pt x="1279" y="335"/>
                </a:lnTo>
                <a:lnTo>
                  <a:pt x="1273" y="349"/>
                </a:lnTo>
                <a:lnTo>
                  <a:pt x="1268" y="364"/>
                </a:lnTo>
                <a:lnTo>
                  <a:pt x="1265" y="377"/>
                </a:lnTo>
                <a:lnTo>
                  <a:pt x="1263" y="390"/>
                </a:lnTo>
                <a:lnTo>
                  <a:pt x="1262" y="412"/>
                </a:lnTo>
                <a:lnTo>
                  <a:pt x="1661" y="412"/>
                </a:lnTo>
                <a:lnTo>
                  <a:pt x="1661" y="390"/>
                </a:lnTo>
                <a:lnTo>
                  <a:pt x="1658" y="377"/>
                </a:lnTo>
                <a:lnTo>
                  <a:pt x="1654" y="364"/>
                </a:lnTo>
                <a:lnTo>
                  <a:pt x="1650" y="349"/>
                </a:lnTo>
                <a:lnTo>
                  <a:pt x="1643" y="335"/>
                </a:lnTo>
                <a:lnTo>
                  <a:pt x="1636" y="320"/>
                </a:lnTo>
                <a:lnTo>
                  <a:pt x="1627" y="306"/>
                </a:lnTo>
                <a:lnTo>
                  <a:pt x="1617" y="291"/>
                </a:lnTo>
                <a:lnTo>
                  <a:pt x="1612" y="285"/>
                </a:lnTo>
                <a:lnTo>
                  <a:pt x="1606" y="278"/>
                </a:lnTo>
                <a:lnTo>
                  <a:pt x="1600" y="271"/>
                </a:lnTo>
                <a:lnTo>
                  <a:pt x="1593" y="266"/>
                </a:lnTo>
                <a:lnTo>
                  <a:pt x="1586" y="259"/>
                </a:lnTo>
                <a:lnTo>
                  <a:pt x="1578" y="253"/>
                </a:lnTo>
                <a:lnTo>
                  <a:pt x="1563" y="243"/>
                </a:lnTo>
                <a:lnTo>
                  <a:pt x="1555" y="238"/>
                </a:lnTo>
                <a:lnTo>
                  <a:pt x="1546" y="233"/>
                </a:lnTo>
                <a:lnTo>
                  <a:pt x="1537" y="230"/>
                </a:lnTo>
                <a:lnTo>
                  <a:pt x="1527" y="227"/>
                </a:lnTo>
                <a:lnTo>
                  <a:pt x="1517" y="223"/>
                </a:lnTo>
                <a:lnTo>
                  <a:pt x="1507" y="221"/>
                </a:lnTo>
                <a:lnTo>
                  <a:pt x="1496" y="219"/>
                </a:lnTo>
                <a:lnTo>
                  <a:pt x="1485" y="218"/>
                </a:lnTo>
                <a:lnTo>
                  <a:pt x="1472" y="217"/>
                </a:lnTo>
                <a:lnTo>
                  <a:pt x="1460" y="216"/>
                </a:lnTo>
                <a:close/>
                <a:moveTo>
                  <a:pt x="5407" y="410"/>
                </a:moveTo>
                <a:lnTo>
                  <a:pt x="5713" y="410"/>
                </a:lnTo>
                <a:lnTo>
                  <a:pt x="5713" y="368"/>
                </a:lnTo>
                <a:lnTo>
                  <a:pt x="5712" y="356"/>
                </a:lnTo>
                <a:lnTo>
                  <a:pt x="5710" y="344"/>
                </a:lnTo>
                <a:lnTo>
                  <a:pt x="5707" y="331"/>
                </a:lnTo>
                <a:lnTo>
                  <a:pt x="5702" y="320"/>
                </a:lnTo>
                <a:lnTo>
                  <a:pt x="5697" y="308"/>
                </a:lnTo>
                <a:lnTo>
                  <a:pt x="5693" y="302"/>
                </a:lnTo>
                <a:lnTo>
                  <a:pt x="5690" y="297"/>
                </a:lnTo>
                <a:lnTo>
                  <a:pt x="5681" y="286"/>
                </a:lnTo>
                <a:lnTo>
                  <a:pt x="5671" y="276"/>
                </a:lnTo>
                <a:lnTo>
                  <a:pt x="5660" y="267"/>
                </a:lnTo>
                <a:lnTo>
                  <a:pt x="5654" y="262"/>
                </a:lnTo>
                <a:lnTo>
                  <a:pt x="5648" y="258"/>
                </a:lnTo>
                <a:lnTo>
                  <a:pt x="5641" y="255"/>
                </a:lnTo>
                <a:lnTo>
                  <a:pt x="5633" y="251"/>
                </a:lnTo>
                <a:lnTo>
                  <a:pt x="5619" y="245"/>
                </a:lnTo>
                <a:lnTo>
                  <a:pt x="5602" y="239"/>
                </a:lnTo>
                <a:lnTo>
                  <a:pt x="5583" y="236"/>
                </a:lnTo>
                <a:lnTo>
                  <a:pt x="5574" y="233"/>
                </a:lnTo>
                <a:lnTo>
                  <a:pt x="5564" y="233"/>
                </a:lnTo>
                <a:lnTo>
                  <a:pt x="5553" y="232"/>
                </a:lnTo>
                <a:lnTo>
                  <a:pt x="5543" y="232"/>
                </a:lnTo>
                <a:lnTo>
                  <a:pt x="5520" y="232"/>
                </a:lnTo>
                <a:lnTo>
                  <a:pt x="5499" y="233"/>
                </a:lnTo>
                <a:lnTo>
                  <a:pt x="5481" y="236"/>
                </a:lnTo>
                <a:lnTo>
                  <a:pt x="5465" y="238"/>
                </a:lnTo>
                <a:lnTo>
                  <a:pt x="5449" y="241"/>
                </a:lnTo>
                <a:lnTo>
                  <a:pt x="5436" y="246"/>
                </a:lnTo>
                <a:lnTo>
                  <a:pt x="5423" y="251"/>
                </a:lnTo>
                <a:lnTo>
                  <a:pt x="5419" y="253"/>
                </a:lnTo>
                <a:lnTo>
                  <a:pt x="5413" y="257"/>
                </a:lnTo>
                <a:lnTo>
                  <a:pt x="5403" y="263"/>
                </a:lnTo>
                <a:lnTo>
                  <a:pt x="5399" y="267"/>
                </a:lnTo>
                <a:lnTo>
                  <a:pt x="5396" y="270"/>
                </a:lnTo>
                <a:lnTo>
                  <a:pt x="5388" y="278"/>
                </a:lnTo>
                <a:lnTo>
                  <a:pt x="5381" y="287"/>
                </a:lnTo>
                <a:lnTo>
                  <a:pt x="5375" y="296"/>
                </a:lnTo>
                <a:lnTo>
                  <a:pt x="5371" y="306"/>
                </a:lnTo>
                <a:lnTo>
                  <a:pt x="5367" y="317"/>
                </a:lnTo>
                <a:lnTo>
                  <a:pt x="5362" y="328"/>
                </a:lnTo>
                <a:lnTo>
                  <a:pt x="5360" y="336"/>
                </a:lnTo>
                <a:lnTo>
                  <a:pt x="5100" y="336"/>
                </a:lnTo>
                <a:lnTo>
                  <a:pt x="5103" y="320"/>
                </a:lnTo>
                <a:lnTo>
                  <a:pt x="5109" y="298"/>
                </a:lnTo>
                <a:lnTo>
                  <a:pt x="5116" y="276"/>
                </a:lnTo>
                <a:lnTo>
                  <a:pt x="5123" y="255"/>
                </a:lnTo>
                <a:lnTo>
                  <a:pt x="5131" y="235"/>
                </a:lnTo>
                <a:lnTo>
                  <a:pt x="5135" y="225"/>
                </a:lnTo>
                <a:lnTo>
                  <a:pt x="5139" y="216"/>
                </a:lnTo>
                <a:lnTo>
                  <a:pt x="5148" y="198"/>
                </a:lnTo>
                <a:lnTo>
                  <a:pt x="5157" y="181"/>
                </a:lnTo>
                <a:lnTo>
                  <a:pt x="5167" y="164"/>
                </a:lnTo>
                <a:lnTo>
                  <a:pt x="5177" y="149"/>
                </a:lnTo>
                <a:lnTo>
                  <a:pt x="5188" y="134"/>
                </a:lnTo>
                <a:lnTo>
                  <a:pt x="5194" y="128"/>
                </a:lnTo>
                <a:lnTo>
                  <a:pt x="5199" y="121"/>
                </a:lnTo>
                <a:lnTo>
                  <a:pt x="5206" y="115"/>
                </a:lnTo>
                <a:lnTo>
                  <a:pt x="5211" y="109"/>
                </a:lnTo>
                <a:lnTo>
                  <a:pt x="5224" y="97"/>
                </a:lnTo>
                <a:lnTo>
                  <a:pt x="5237" y="87"/>
                </a:lnTo>
                <a:lnTo>
                  <a:pt x="5251" y="75"/>
                </a:lnTo>
                <a:lnTo>
                  <a:pt x="5264" y="66"/>
                </a:lnTo>
                <a:lnTo>
                  <a:pt x="5278" y="58"/>
                </a:lnTo>
                <a:lnTo>
                  <a:pt x="5293" y="50"/>
                </a:lnTo>
                <a:lnTo>
                  <a:pt x="5309" y="42"/>
                </a:lnTo>
                <a:lnTo>
                  <a:pt x="5324" y="35"/>
                </a:lnTo>
                <a:lnTo>
                  <a:pt x="5340" y="30"/>
                </a:lnTo>
                <a:lnTo>
                  <a:pt x="5356" y="24"/>
                </a:lnTo>
                <a:lnTo>
                  <a:pt x="5373" y="20"/>
                </a:lnTo>
                <a:lnTo>
                  <a:pt x="5390" y="15"/>
                </a:lnTo>
                <a:lnTo>
                  <a:pt x="5408" y="12"/>
                </a:lnTo>
                <a:lnTo>
                  <a:pt x="5427" y="9"/>
                </a:lnTo>
                <a:lnTo>
                  <a:pt x="5445" y="6"/>
                </a:lnTo>
                <a:lnTo>
                  <a:pt x="5464" y="4"/>
                </a:lnTo>
                <a:lnTo>
                  <a:pt x="5483" y="3"/>
                </a:lnTo>
                <a:lnTo>
                  <a:pt x="5503" y="2"/>
                </a:lnTo>
                <a:lnTo>
                  <a:pt x="5523" y="1"/>
                </a:lnTo>
                <a:lnTo>
                  <a:pt x="5543" y="1"/>
                </a:lnTo>
                <a:lnTo>
                  <a:pt x="5565" y="1"/>
                </a:lnTo>
                <a:lnTo>
                  <a:pt x="5586" y="2"/>
                </a:lnTo>
                <a:lnTo>
                  <a:pt x="5609" y="4"/>
                </a:lnTo>
                <a:lnTo>
                  <a:pt x="5630" y="7"/>
                </a:lnTo>
                <a:lnTo>
                  <a:pt x="5650" y="12"/>
                </a:lnTo>
                <a:lnTo>
                  <a:pt x="5670" y="16"/>
                </a:lnTo>
                <a:lnTo>
                  <a:pt x="5690" y="22"/>
                </a:lnTo>
                <a:lnTo>
                  <a:pt x="5710" y="28"/>
                </a:lnTo>
                <a:lnTo>
                  <a:pt x="5729" y="35"/>
                </a:lnTo>
                <a:lnTo>
                  <a:pt x="5747" y="43"/>
                </a:lnTo>
                <a:lnTo>
                  <a:pt x="5765" y="51"/>
                </a:lnTo>
                <a:lnTo>
                  <a:pt x="5783" y="60"/>
                </a:lnTo>
                <a:lnTo>
                  <a:pt x="5799" y="70"/>
                </a:lnTo>
                <a:lnTo>
                  <a:pt x="5815" y="81"/>
                </a:lnTo>
                <a:lnTo>
                  <a:pt x="5831" y="92"/>
                </a:lnTo>
                <a:lnTo>
                  <a:pt x="5846" y="104"/>
                </a:lnTo>
                <a:lnTo>
                  <a:pt x="5860" y="117"/>
                </a:lnTo>
                <a:lnTo>
                  <a:pt x="5873" y="130"/>
                </a:lnTo>
                <a:lnTo>
                  <a:pt x="5886" y="143"/>
                </a:lnTo>
                <a:lnTo>
                  <a:pt x="5897" y="158"/>
                </a:lnTo>
                <a:lnTo>
                  <a:pt x="5909" y="172"/>
                </a:lnTo>
                <a:lnTo>
                  <a:pt x="5919" y="188"/>
                </a:lnTo>
                <a:lnTo>
                  <a:pt x="5929" y="203"/>
                </a:lnTo>
                <a:lnTo>
                  <a:pt x="5937" y="220"/>
                </a:lnTo>
                <a:lnTo>
                  <a:pt x="5941" y="229"/>
                </a:lnTo>
                <a:lnTo>
                  <a:pt x="5944" y="237"/>
                </a:lnTo>
                <a:lnTo>
                  <a:pt x="5948" y="246"/>
                </a:lnTo>
                <a:lnTo>
                  <a:pt x="5951" y="255"/>
                </a:lnTo>
                <a:lnTo>
                  <a:pt x="5957" y="272"/>
                </a:lnTo>
                <a:lnTo>
                  <a:pt x="5962" y="290"/>
                </a:lnTo>
                <a:lnTo>
                  <a:pt x="5963" y="300"/>
                </a:lnTo>
                <a:lnTo>
                  <a:pt x="5966" y="309"/>
                </a:lnTo>
                <a:lnTo>
                  <a:pt x="5968" y="329"/>
                </a:lnTo>
                <a:lnTo>
                  <a:pt x="5970" y="348"/>
                </a:lnTo>
                <a:lnTo>
                  <a:pt x="5970" y="368"/>
                </a:lnTo>
                <a:lnTo>
                  <a:pt x="5971" y="492"/>
                </a:lnTo>
                <a:lnTo>
                  <a:pt x="5970" y="616"/>
                </a:lnTo>
                <a:lnTo>
                  <a:pt x="5970" y="1093"/>
                </a:lnTo>
                <a:lnTo>
                  <a:pt x="5728" y="1093"/>
                </a:lnTo>
                <a:lnTo>
                  <a:pt x="5628" y="1093"/>
                </a:lnTo>
                <a:lnTo>
                  <a:pt x="5525" y="1093"/>
                </a:lnTo>
                <a:lnTo>
                  <a:pt x="5407" y="1093"/>
                </a:lnTo>
                <a:lnTo>
                  <a:pt x="5388" y="1093"/>
                </a:lnTo>
                <a:lnTo>
                  <a:pt x="5369" y="1092"/>
                </a:lnTo>
                <a:lnTo>
                  <a:pt x="5351" y="1089"/>
                </a:lnTo>
                <a:lnTo>
                  <a:pt x="5333" y="1087"/>
                </a:lnTo>
                <a:lnTo>
                  <a:pt x="5315" y="1084"/>
                </a:lnTo>
                <a:lnTo>
                  <a:pt x="5298" y="1079"/>
                </a:lnTo>
                <a:lnTo>
                  <a:pt x="5282" y="1075"/>
                </a:lnTo>
                <a:lnTo>
                  <a:pt x="5265" y="1069"/>
                </a:lnTo>
                <a:lnTo>
                  <a:pt x="5249" y="1064"/>
                </a:lnTo>
                <a:lnTo>
                  <a:pt x="5234" y="1056"/>
                </a:lnTo>
                <a:lnTo>
                  <a:pt x="5218" y="1049"/>
                </a:lnTo>
                <a:lnTo>
                  <a:pt x="5204" y="1040"/>
                </a:lnTo>
                <a:lnTo>
                  <a:pt x="5189" y="1032"/>
                </a:lnTo>
                <a:lnTo>
                  <a:pt x="5176" y="1023"/>
                </a:lnTo>
                <a:lnTo>
                  <a:pt x="5162" y="1013"/>
                </a:lnTo>
                <a:lnTo>
                  <a:pt x="5150" y="1001"/>
                </a:lnTo>
                <a:lnTo>
                  <a:pt x="5138" y="990"/>
                </a:lnTo>
                <a:lnTo>
                  <a:pt x="5127" y="979"/>
                </a:lnTo>
                <a:lnTo>
                  <a:pt x="5117" y="967"/>
                </a:lnTo>
                <a:lnTo>
                  <a:pt x="5107" y="954"/>
                </a:lnTo>
                <a:lnTo>
                  <a:pt x="5097" y="940"/>
                </a:lnTo>
                <a:lnTo>
                  <a:pt x="5089" y="927"/>
                </a:lnTo>
                <a:lnTo>
                  <a:pt x="5080" y="912"/>
                </a:lnTo>
                <a:lnTo>
                  <a:pt x="5073" y="898"/>
                </a:lnTo>
                <a:lnTo>
                  <a:pt x="5066" y="882"/>
                </a:lnTo>
                <a:lnTo>
                  <a:pt x="5061" y="867"/>
                </a:lnTo>
                <a:lnTo>
                  <a:pt x="5056" y="850"/>
                </a:lnTo>
                <a:lnTo>
                  <a:pt x="5052" y="833"/>
                </a:lnTo>
                <a:lnTo>
                  <a:pt x="5049" y="817"/>
                </a:lnTo>
                <a:lnTo>
                  <a:pt x="5046" y="800"/>
                </a:lnTo>
                <a:lnTo>
                  <a:pt x="5045" y="782"/>
                </a:lnTo>
                <a:lnTo>
                  <a:pt x="5045" y="763"/>
                </a:lnTo>
                <a:lnTo>
                  <a:pt x="5045" y="745"/>
                </a:lnTo>
                <a:lnTo>
                  <a:pt x="5046" y="728"/>
                </a:lnTo>
                <a:lnTo>
                  <a:pt x="5049" y="710"/>
                </a:lnTo>
                <a:lnTo>
                  <a:pt x="5052" y="693"/>
                </a:lnTo>
                <a:lnTo>
                  <a:pt x="5056" y="675"/>
                </a:lnTo>
                <a:lnTo>
                  <a:pt x="5061" y="659"/>
                </a:lnTo>
                <a:lnTo>
                  <a:pt x="5066" y="642"/>
                </a:lnTo>
                <a:lnTo>
                  <a:pt x="5073" y="626"/>
                </a:lnTo>
                <a:lnTo>
                  <a:pt x="5080" y="611"/>
                </a:lnTo>
                <a:lnTo>
                  <a:pt x="5088" y="595"/>
                </a:lnTo>
                <a:lnTo>
                  <a:pt x="5097" y="581"/>
                </a:lnTo>
                <a:lnTo>
                  <a:pt x="5106" y="566"/>
                </a:lnTo>
                <a:lnTo>
                  <a:pt x="5116" y="553"/>
                </a:lnTo>
                <a:lnTo>
                  <a:pt x="5127" y="540"/>
                </a:lnTo>
                <a:lnTo>
                  <a:pt x="5138" y="526"/>
                </a:lnTo>
                <a:lnTo>
                  <a:pt x="5150" y="514"/>
                </a:lnTo>
                <a:lnTo>
                  <a:pt x="5162" y="503"/>
                </a:lnTo>
                <a:lnTo>
                  <a:pt x="5176" y="492"/>
                </a:lnTo>
                <a:lnTo>
                  <a:pt x="5189" y="481"/>
                </a:lnTo>
                <a:lnTo>
                  <a:pt x="5203" y="472"/>
                </a:lnTo>
                <a:lnTo>
                  <a:pt x="5218" y="462"/>
                </a:lnTo>
                <a:lnTo>
                  <a:pt x="5233" y="454"/>
                </a:lnTo>
                <a:lnTo>
                  <a:pt x="5248" y="446"/>
                </a:lnTo>
                <a:lnTo>
                  <a:pt x="5265" y="438"/>
                </a:lnTo>
                <a:lnTo>
                  <a:pt x="5281" y="433"/>
                </a:lnTo>
                <a:lnTo>
                  <a:pt x="5298" y="427"/>
                </a:lnTo>
                <a:lnTo>
                  <a:pt x="5315" y="422"/>
                </a:lnTo>
                <a:lnTo>
                  <a:pt x="5333" y="418"/>
                </a:lnTo>
                <a:lnTo>
                  <a:pt x="5351" y="415"/>
                </a:lnTo>
                <a:lnTo>
                  <a:pt x="5369" y="413"/>
                </a:lnTo>
                <a:lnTo>
                  <a:pt x="5388" y="412"/>
                </a:lnTo>
                <a:lnTo>
                  <a:pt x="5407" y="410"/>
                </a:lnTo>
                <a:close/>
                <a:moveTo>
                  <a:pt x="5713" y="835"/>
                </a:moveTo>
                <a:lnTo>
                  <a:pt x="5712" y="750"/>
                </a:lnTo>
                <a:lnTo>
                  <a:pt x="5712" y="634"/>
                </a:lnTo>
                <a:lnTo>
                  <a:pt x="5428" y="634"/>
                </a:lnTo>
                <a:lnTo>
                  <a:pt x="5413" y="634"/>
                </a:lnTo>
                <a:lnTo>
                  <a:pt x="5407" y="635"/>
                </a:lnTo>
                <a:lnTo>
                  <a:pt x="5400" y="636"/>
                </a:lnTo>
                <a:lnTo>
                  <a:pt x="5388" y="640"/>
                </a:lnTo>
                <a:lnTo>
                  <a:pt x="5382" y="641"/>
                </a:lnTo>
                <a:lnTo>
                  <a:pt x="5375" y="643"/>
                </a:lnTo>
                <a:lnTo>
                  <a:pt x="5365" y="649"/>
                </a:lnTo>
                <a:lnTo>
                  <a:pt x="5354" y="655"/>
                </a:lnTo>
                <a:lnTo>
                  <a:pt x="5345" y="662"/>
                </a:lnTo>
                <a:lnTo>
                  <a:pt x="5336" y="670"/>
                </a:lnTo>
                <a:lnTo>
                  <a:pt x="5333" y="674"/>
                </a:lnTo>
                <a:lnTo>
                  <a:pt x="5329" y="679"/>
                </a:lnTo>
                <a:lnTo>
                  <a:pt x="5322" y="688"/>
                </a:lnTo>
                <a:lnTo>
                  <a:pt x="5316" y="696"/>
                </a:lnTo>
                <a:lnTo>
                  <a:pt x="5312" y="708"/>
                </a:lnTo>
                <a:lnTo>
                  <a:pt x="5309" y="718"/>
                </a:lnTo>
                <a:lnTo>
                  <a:pt x="5305" y="729"/>
                </a:lnTo>
                <a:lnTo>
                  <a:pt x="5304" y="739"/>
                </a:lnTo>
                <a:lnTo>
                  <a:pt x="5303" y="750"/>
                </a:lnTo>
                <a:lnTo>
                  <a:pt x="5304" y="761"/>
                </a:lnTo>
                <a:lnTo>
                  <a:pt x="5305" y="772"/>
                </a:lnTo>
                <a:lnTo>
                  <a:pt x="5309" y="783"/>
                </a:lnTo>
                <a:lnTo>
                  <a:pt x="5312" y="793"/>
                </a:lnTo>
                <a:lnTo>
                  <a:pt x="5316" y="803"/>
                </a:lnTo>
                <a:lnTo>
                  <a:pt x="5320" y="808"/>
                </a:lnTo>
                <a:lnTo>
                  <a:pt x="5322" y="812"/>
                </a:lnTo>
                <a:lnTo>
                  <a:pt x="5329" y="822"/>
                </a:lnTo>
                <a:lnTo>
                  <a:pt x="5336" y="830"/>
                </a:lnTo>
                <a:lnTo>
                  <a:pt x="5345" y="838"/>
                </a:lnTo>
                <a:lnTo>
                  <a:pt x="5354" y="845"/>
                </a:lnTo>
                <a:lnTo>
                  <a:pt x="5364" y="851"/>
                </a:lnTo>
                <a:lnTo>
                  <a:pt x="5375" y="857"/>
                </a:lnTo>
                <a:lnTo>
                  <a:pt x="5388" y="861"/>
                </a:lnTo>
                <a:lnTo>
                  <a:pt x="5400" y="863"/>
                </a:lnTo>
                <a:lnTo>
                  <a:pt x="5407" y="865"/>
                </a:lnTo>
                <a:lnTo>
                  <a:pt x="5413" y="866"/>
                </a:lnTo>
                <a:lnTo>
                  <a:pt x="5428" y="867"/>
                </a:lnTo>
                <a:lnTo>
                  <a:pt x="5713" y="867"/>
                </a:lnTo>
                <a:lnTo>
                  <a:pt x="5713" y="835"/>
                </a:lnTo>
                <a:close/>
                <a:moveTo>
                  <a:pt x="254" y="405"/>
                </a:moveTo>
                <a:lnTo>
                  <a:pt x="260" y="404"/>
                </a:lnTo>
                <a:lnTo>
                  <a:pt x="271" y="400"/>
                </a:lnTo>
                <a:lnTo>
                  <a:pt x="282" y="397"/>
                </a:lnTo>
                <a:lnTo>
                  <a:pt x="305" y="390"/>
                </a:lnTo>
                <a:lnTo>
                  <a:pt x="325" y="381"/>
                </a:lnTo>
                <a:lnTo>
                  <a:pt x="345" y="371"/>
                </a:lnTo>
                <a:lnTo>
                  <a:pt x="364" y="360"/>
                </a:lnTo>
                <a:lnTo>
                  <a:pt x="383" y="349"/>
                </a:lnTo>
                <a:lnTo>
                  <a:pt x="399" y="336"/>
                </a:lnTo>
                <a:lnTo>
                  <a:pt x="416" y="322"/>
                </a:lnTo>
                <a:lnTo>
                  <a:pt x="432" y="308"/>
                </a:lnTo>
                <a:lnTo>
                  <a:pt x="447" y="294"/>
                </a:lnTo>
                <a:lnTo>
                  <a:pt x="462" y="279"/>
                </a:lnTo>
                <a:lnTo>
                  <a:pt x="468" y="271"/>
                </a:lnTo>
                <a:lnTo>
                  <a:pt x="475" y="263"/>
                </a:lnTo>
                <a:lnTo>
                  <a:pt x="487" y="247"/>
                </a:lnTo>
                <a:lnTo>
                  <a:pt x="500" y="231"/>
                </a:lnTo>
                <a:lnTo>
                  <a:pt x="511" y="216"/>
                </a:lnTo>
                <a:lnTo>
                  <a:pt x="521" y="199"/>
                </a:lnTo>
                <a:lnTo>
                  <a:pt x="540" y="168"/>
                </a:lnTo>
                <a:lnTo>
                  <a:pt x="557" y="138"/>
                </a:lnTo>
                <a:lnTo>
                  <a:pt x="570" y="111"/>
                </a:lnTo>
                <a:lnTo>
                  <a:pt x="580" y="87"/>
                </a:lnTo>
                <a:lnTo>
                  <a:pt x="589" y="65"/>
                </a:lnTo>
                <a:lnTo>
                  <a:pt x="595" y="50"/>
                </a:lnTo>
                <a:lnTo>
                  <a:pt x="599" y="35"/>
                </a:lnTo>
                <a:lnTo>
                  <a:pt x="605" y="20"/>
                </a:lnTo>
                <a:lnTo>
                  <a:pt x="843" y="20"/>
                </a:lnTo>
                <a:lnTo>
                  <a:pt x="840" y="42"/>
                </a:lnTo>
                <a:lnTo>
                  <a:pt x="837" y="58"/>
                </a:lnTo>
                <a:lnTo>
                  <a:pt x="833" y="75"/>
                </a:lnTo>
                <a:lnTo>
                  <a:pt x="827" y="99"/>
                </a:lnTo>
                <a:lnTo>
                  <a:pt x="819" y="127"/>
                </a:lnTo>
                <a:lnTo>
                  <a:pt x="809" y="160"/>
                </a:lnTo>
                <a:lnTo>
                  <a:pt x="802" y="178"/>
                </a:lnTo>
                <a:lnTo>
                  <a:pt x="794" y="196"/>
                </a:lnTo>
                <a:lnTo>
                  <a:pt x="786" y="215"/>
                </a:lnTo>
                <a:lnTo>
                  <a:pt x="777" y="235"/>
                </a:lnTo>
                <a:lnTo>
                  <a:pt x="769" y="253"/>
                </a:lnTo>
                <a:lnTo>
                  <a:pt x="760" y="274"/>
                </a:lnTo>
                <a:lnTo>
                  <a:pt x="748" y="292"/>
                </a:lnTo>
                <a:lnTo>
                  <a:pt x="737" y="312"/>
                </a:lnTo>
                <a:lnTo>
                  <a:pt x="725" y="332"/>
                </a:lnTo>
                <a:lnTo>
                  <a:pt x="712" y="353"/>
                </a:lnTo>
                <a:lnTo>
                  <a:pt x="697" y="373"/>
                </a:lnTo>
                <a:lnTo>
                  <a:pt x="682" y="393"/>
                </a:lnTo>
                <a:lnTo>
                  <a:pt x="666" y="413"/>
                </a:lnTo>
                <a:lnTo>
                  <a:pt x="648" y="433"/>
                </a:lnTo>
                <a:lnTo>
                  <a:pt x="630" y="452"/>
                </a:lnTo>
                <a:lnTo>
                  <a:pt x="610" y="471"/>
                </a:lnTo>
                <a:lnTo>
                  <a:pt x="590" y="489"/>
                </a:lnTo>
                <a:lnTo>
                  <a:pt x="579" y="498"/>
                </a:lnTo>
                <a:lnTo>
                  <a:pt x="568" y="507"/>
                </a:lnTo>
                <a:lnTo>
                  <a:pt x="545" y="524"/>
                </a:lnTo>
                <a:lnTo>
                  <a:pt x="521" y="541"/>
                </a:lnTo>
                <a:lnTo>
                  <a:pt x="514" y="545"/>
                </a:lnTo>
                <a:lnTo>
                  <a:pt x="521" y="548"/>
                </a:lnTo>
                <a:lnTo>
                  <a:pt x="545" y="565"/>
                </a:lnTo>
                <a:lnTo>
                  <a:pt x="569" y="584"/>
                </a:lnTo>
                <a:lnTo>
                  <a:pt x="591" y="602"/>
                </a:lnTo>
                <a:lnTo>
                  <a:pt x="612" y="622"/>
                </a:lnTo>
                <a:lnTo>
                  <a:pt x="632" y="641"/>
                </a:lnTo>
                <a:lnTo>
                  <a:pt x="641" y="651"/>
                </a:lnTo>
                <a:lnTo>
                  <a:pt x="651" y="661"/>
                </a:lnTo>
                <a:lnTo>
                  <a:pt x="660" y="672"/>
                </a:lnTo>
                <a:lnTo>
                  <a:pt x="668" y="682"/>
                </a:lnTo>
                <a:lnTo>
                  <a:pt x="685" y="703"/>
                </a:lnTo>
                <a:lnTo>
                  <a:pt x="701" y="724"/>
                </a:lnTo>
                <a:lnTo>
                  <a:pt x="715" y="745"/>
                </a:lnTo>
                <a:lnTo>
                  <a:pt x="728" y="767"/>
                </a:lnTo>
                <a:lnTo>
                  <a:pt x="742" y="788"/>
                </a:lnTo>
                <a:lnTo>
                  <a:pt x="753" y="809"/>
                </a:lnTo>
                <a:lnTo>
                  <a:pt x="764" y="829"/>
                </a:lnTo>
                <a:lnTo>
                  <a:pt x="774" y="850"/>
                </a:lnTo>
                <a:lnTo>
                  <a:pt x="783" y="870"/>
                </a:lnTo>
                <a:lnTo>
                  <a:pt x="792" y="890"/>
                </a:lnTo>
                <a:lnTo>
                  <a:pt x="801" y="911"/>
                </a:lnTo>
                <a:lnTo>
                  <a:pt x="808" y="930"/>
                </a:lnTo>
                <a:lnTo>
                  <a:pt x="814" y="949"/>
                </a:lnTo>
                <a:lnTo>
                  <a:pt x="820" y="967"/>
                </a:lnTo>
                <a:lnTo>
                  <a:pt x="825" y="984"/>
                </a:lnTo>
                <a:lnTo>
                  <a:pt x="833" y="1014"/>
                </a:lnTo>
                <a:lnTo>
                  <a:pt x="839" y="1038"/>
                </a:lnTo>
                <a:lnTo>
                  <a:pt x="843" y="1057"/>
                </a:lnTo>
                <a:lnTo>
                  <a:pt x="846" y="1074"/>
                </a:lnTo>
                <a:lnTo>
                  <a:pt x="849" y="1093"/>
                </a:lnTo>
                <a:lnTo>
                  <a:pt x="609" y="1093"/>
                </a:lnTo>
                <a:lnTo>
                  <a:pt x="607" y="1083"/>
                </a:lnTo>
                <a:lnTo>
                  <a:pt x="601" y="1067"/>
                </a:lnTo>
                <a:lnTo>
                  <a:pt x="596" y="1049"/>
                </a:lnTo>
                <a:lnTo>
                  <a:pt x="587" y="1027"/>
                </a:lnTo>
                <a:lnTo>
                  <a:pt x="576" y="1000"/>
                </a:lnTo>
                <a:lnTo>
                  <a:pt x="562" y="970"/>
                </a:lnTo>
                <a:lnTo>
                  <a:pt x="545" y="938"/>
                </a:lnTo>
                <a:lnTo>
                  <a:pt x="537" y="921"/>
                </a:lnTo>
                <a:lnTo>
                  <a:pt x="527" y="904"/>
                </a:lnTo>
                <a:lnTo>
                  <a:pt x="515" y="887"/>
                </a:lnTo>
                <a:lnTo>
                  <a:pt x="504" y="869"/>
                </a:lnTo>
                <a:lnTo>
                  <a:pt x="492" y="851"/>
                </a:lnTo>
                <a:lnTo>
                  <a:pt x="479" y="835"/>
                </a:lnTo>
                <a:lnTo>
                  <a:pt x="472" y="826"/>
                </a:lnTo>
                <a:lnTo>
                  <a:pt x="465" y="818"/>
                </a:lnTo>
                <a:lnTo>
                  <a:pt x="451" y="801"/>
                </a:lnTo>
                <a:lnTo>
                  <a:pt x="435" y="786"/>
                </a:lnTo>
                <a:lnTo>
                  <a:pt x="419" y="770"/>
                </a:lnTo>
                <a:lnTo>
                  <a:pt x="403" y="755"/>
                </a:lnTo>
                <a:lnTo>
                  <a:pt x="385" y="742"/>
                </a:lnTo>
                <a:lnTo>
                  <a:pt x="375" y="735"/>
                </a:lnTo>
                <a:lnTo>
                  <a:pt x="366" y="730"/>
                </a:lnTo>
                <a:lnTo>
                  <a:pt x="347" y="718"/>
                </a:lnTo>
                <a:lnTo>
                  <a:pt x="326" y="708"/>
                </a:lnTo>
                <a:lnTo>
                  <a:pt x="316" y="703"/>
                </a:lnTo>
                <a:lnTo>
                  <a:pt x="305" y="699"/>
                </a:lnTo>
                <a:lnTo>
                  <a:pt x="294" y="694"/>
                </a:lnTo>
                <a:lnTo>
                  <a:pt x="283" y="691"/>
                </a:lnTo>
                <a:lnTo>
                  <a:pt x="260" y="685"/>
                </a:lnTo>
                <a:lnTo>
                  <a:pt x="254" y="684"/>
                </a:lnTo>
                <a:lnTo>
                  <a:pt x="254" y="1093"/>
                </a:lnTo>
                <a:lnTo>
                  <a:pt x="0" y="1093"/>
                </a:lnTo>
                <a:lnTo>
                  <a:pt x="0" y="556"/>
                </a:lnTo>
                <a:lnTo>
                  <a:pt x="0" y="20"/>
                </a:lnTo>
                <a:lnTo>
                  <a:pt x="254" y="20"/>
                </a:lnTo>
                <a:lnTo>
                  <a:pt x="254" y="405"/>
                </a:lnTo>
                <a:close/>
                <a:moveTo>
                  <a:pt x="3423" y="367"/>
                </a:moveTo>
                <a:lnTo>
                  <a:pt x="3423" y="1093"/>
                </a:lnTo>
                <a:lnTo>
                  <a:pt x="3168" y="1093"/>
                </a:lnTo>
                <a:lnTo>
                  <a:pt x="3168" y="363"/>
                </a:lnTo>
                <a:lnTo>
                  <a:pt x="3168" y="349"/>
                </a:lnTo>
                <a:lnTo>
                  <a:pt x="3166" y="336"/>
                </a:lnTo>
                <a:lnTo>
                  <a:pt x="3162" y="324"/>
                </a:lnTo>
                <a:lnTo>
                  <a:pt x="3161" y="318"/>
                </a:lnTo>
                <a:lnTo>
                  <a:pt x="3159" y="312"/>
                </a:lnTo>
                <a:lnTo>
                  <a:pt x="3153" y="301"/>
                </a:lnTo>
                <a:lnTo>
                  <a:pt x="3147" y="290"/>
                </a:lnTo>
                <a:lnTo>
                  <a:pt x="3140" y="280"/>
                </a:lnTo>
                <a:lnTo>
                  <a:pt x="3132" y="271"/>
                </a:lnTo>
                <a:lnTo>
                  <a:pt x="3123" y="263"/>
                </a:lnTo>
                <a:lnTo>
                  <a:pt x="3114" y="257"/>
                </a:lnTo>
                <a:lnTo>
                  <a:pt x="3109" y="253"/>
                </a:lnTo>
                <a:lnTo>
                  <a:pt x="3104" y="250"/>
                </a:lnTo>
                <a:lnTo>
                  <a:pt x="3093" y="245"/>
                </a:lnTo>
                <a:lnTo>
                  <a:pt x="3088" y="242"/>
                </a:lnTo>
                <a:lnTo>
                  <a:pt x="3082" y="241"/>
                </a:lnTo>
                <a:lnTo>
                  <a:pt x="3070" y="238"/>
                </a:lnTo>
                <a:lnTo>
                  <a:pt x="3058" y="236"/>
                </a:lnTo>
                <a:lnTo>
                  <a:pt x="3045" y="236"/>
                </a:lnTo>
                <a:lnTo>
                  <a:pt x="3033" y="236"/>
                </a:lnTo>
                <a:lnTo>
                  <a:pt x="3021" y="238"/>
                </a:lnTo>
                <a:lnTo>
                  <a:pt x="3008" y="241"/>
                </a:lnTo>
                <a:lnTo>
                  <a:pt x="2997" y="246"/>
                </a:lnTo>
                <a:lnTo>
                  <a:pt x="2992" y="248"/>
                </a:lnTo>
                <a:lnTo>
                  <a:pt x="2986" y="251"/>
                </a:lnTo>
                <a:lnTo>
                  <a:pt x="2976" y="258"/>
                </a:lnTo>
                <a:lnTo>
                  <a:pt x="2972" y="261"/>
                </a:lnTo>
                <a:lnTo>
                  <a:pt x="2967" y="265"/>
                </a:lnTo>
                <a:lnTo>
                  <a:pt x="2958" y="274"/>
                </a:lnTo>
                <a:lnTo>
                  <a:pt x="2950" y="282"/>
                </a:lnTo>
                <a:lnTo>
                  <a:pt x="2946" y="287"/>
                </a:lnTo>
                <a:lnTo>
                  <a:pt x="2943" y="292"/>
                </a:lnTo>
                <a:lnTo>
                  <a:pt x="2937" y="304"/>
                </a:lnTo>
                <a:lnTo>
                  <a:pt x="2931" y="315"/>
                </a:lnTo>
                <a:lnTo>
                  <a:pt x="2929" y="320"/>
                </a:lnTo>
                <a:lnTo>
                  <a:pt x="2927" y="326"/>
                </a:lnTo>
                <a:lnTo>
                  <a:pt x="2924" y="339"/>
                </a:lnTo>
                <a:lnTo>
                  <a:pt x="2923" y="351"/>
                </a:lnTo>
                <a:lnTo>
                  <a:pt x="2921" y="358"/>
                </a:lnTo>
                <a:lnTo>
                  <a:pt x="2921" y="365"/>
                </a:lnTo>
                <a:lnTo>
                  <a:pt x="2921" y="1093"/>
                </a:lnTo>
                <a:lnTo>
                  <a:pt x="2669" y="1093"/>
                </a:lnTo>
                <a:lnTo>
                  <a:pt x="2669" y="365"/>
                </a:lnTo>
                <a:lnTo>
                  <a:pt x="2669" y="351"/>
                </a:lnTo>
                <a:lnTo>
                  <a:pt x="2667" y="339"/>
                </a:lnTo>
                <a:lnTo>
                  <a:pt x="2664" y="326"/>
                </a:lnTo>
                <a:lnTo>
                  <a:pt x="2663" y="320"/>
                </a:lnTo>
                <a:lnTo>
                  <a:pt x="2660" y="315"/>
                </a:lnTo>
                <a:lnTo>
                  <a:pt x="2655" y="304"/>
                </a:lnTo>
                <a:lnTo>
                  <a:pt x="2648" y="292"/>
                </a:lnTo>
                <a:lnTo>
                  <a:pt x="2641" y="282"/>
                </a:lnTo>
                <a:lnTo>
                  <a:pt x="2637" y="278"/>
                </a:lnTo>
                <a:lnTo>
                  <a:pt x="2634" y="274"/>
                </a:lnTo>
                <a:lnTo>
                  <a:pt x="2629" y="269"/>
                </a:lnTo>
                <a:lnTo>
                  <a:pt x="2625" y="265"/>
                </a:lnTo>
                <a:lnTo>
                  <a:pt x="2615" y="258"/>
                </a:lnTo>
                <a:lnTo>
                  <a:pt x="2605" y="251"/>
                </a:lnTo>
                <a:lnTo>
                  <a:pt x="2593" y="246"/>
                </a:lnTo>
                <a:lnTo>
                  <a:pt x="2582" y="241"/>
                </a:lnTo>
                <a:lnTo>
                  <a:pt x="2577" y="239"/>
                </a:lnTo>
                <a:lnTo>
                  <a:pt x="2571" y="238"/>
                </a:lnTo>
                <a:lnTo>
                  <a:pt x="2559" y="236"/>
                </a:lnTo>
                <a:lnTo>
                  <a:pt x="2552" y="236"/>
                </a:lnTo>
                <a:lnTo>
                  <a:pt x="2546" y="236"/>
                </a:lnTo>
                <a:lnTo>
                  <a:pt x="2533" y="236"/>
                </a:lnTo>
                <a:lnTo>
                  <a:pt x="2528" y="237"/>
                </a:lnTo>
                <a:lnTo>
                  <a:pt x="2521" y="238"/>
                </a:lnTo>
                <a:lnTo>
                  <a:pt x="2510" y="241"/>
                </a:lnTo>
                <a:lnTo>
                  <a:pt x="2499" y="245"/>
                </a:lnTo>
                <a:lnTo>
                  <a:pt x="2488" y="250"/>
                </a:lnTo>
                <a:lnTo>
                  <a:pt x="2477" y="257"/>
                </a:lnTo>
                <a:lnTo>
                  <a:pt x="2467" y="263"/>
                </a:lnTo>
                <a:lnTo>
                  <a:pt x="2460" y="271"/>
                </a:lnTo>
                <a:lnTo>
                  <a:pt x="2451" y="280"/>
                </a:lnTo>
                <a:lnTo>
                  <a:pt x="2444" y="290"/>
                </a:lnTo>
                <a:lnTo>
                  <a:pt x="2438" y="301"/>
                </a:lnTo>
                <a:lnTo>
                  <a:pt x="2433" y="312"/>
                </a:lnTo>
                <a:lnTo>
                  <a:pt x="2431" y="318"/>
                </a:lnTo>
                <a:lnTo>
                  <a:pt x="2428" y="324"/>
                </a:lnTo>
                <a:lnTo>
                  <a:pt x="2425" y="336"/>
                </a:lnTo>
                <a:lnTo>
                  <a:pt x="2424" y="349"/>
                </a:lnTo>
                <a:lnTo>
                  <a:pt x="2423" y="356"/>
                </a:lnTo>
                <a:lnTo>
                  <a:pt x="2423" y="363"/>
                </a:lnTo>
                <a:lnTo>
                  <a:pt x="2423" y="1093"/>
                </a:lnTo>
                <a:lnTo>
                  <a:pt x="2168" y="1093"/>
                </a:lnTo>
                <a:lnTo>
                  <a:pt x="2168" y="367"/>
                </a:lnTo>
                <a:lnTo>
                  <a:pt x="2168" y="348"/>
                </a:lnTo>
                <a:lnTo>
                  <a:pt x="2170" y="329"/>
                </a:lnTo>
                <a:lnTo>
                  <a:pt x="2172" y="310"/>
                </a:lnTo>
                <a:lnTo>
                  <a:pt x="2175" y="292"/>
                </a:lnTo>
                <a:lnTo>
                  <a:pt x="2179" y="275"/>
                </a:lnTo>
                <a:lnTo>
                  <a:pt x="2183" y="258"/>
                </a:lnTo>
                <a:lnTo>
                  <a:pt x="2189" y="240"/>
                </a:lnTo>
                <a:lnTo>
                  <a:pt x="2194" y="223"/>
                </a:lnTo>
                <a:lnTo>
                  <a:pt x="2201" y="208"/>
                </a:lnTo>
                <a:lnTo>
                  <a:pt x="2209" y="192"/>
                </a:lnTo>
                <a:lnTo>
                  <a:pt x="2212" y="184"/>
                </a:lnTo>
                <a:lnTo>
                  <a:pt x="2216" y="177"/>
                </a:lnTo>
                <a:lnTo>
                  <a:pt x="2225" y="161"/>
                </a:lnTo>
                <a:lnTo>
                  <a:pt x="2235" y="148"/>
                </a:lnTo>
                <a:lnTo>
                  <a:pt x="2245" y="133"/>
                </a:lnTo>
                <a:lnTo>
                  <a:pt x="2258" y="120"/>
                </a:lnTo>
                <a:lnTo>
                  <a:pt x="2269" y="108"/>
                </a:lnTo>
                <a:lnTo>
                  <a:pt x="2281" y="95"/>
                </a:lnTo>
                <a:lnTo>
                  <a:pt x="2288" y="90"/>
                </a:lnTo>
                <a:lnTo>
                  <a:pt x="2295" y="83"/>
                </a:lnTo>
                <a:lnTo>
                  <a:pt x="2309" y="73"/>
                </a:lnTo>
                <a:lnTo>
                  <a:pt x="2324" y="63"/>
                </a:lnTo>
                <a:lnTo>
                  <a:pt x="2339" y="53"/>
                </a:lnTo>
                <a:lnTo>
                  <a:pt x="2355" y="44"/>
                </a:lnTo>
                <a:lnTo>
                  <a:pt x="2371" y="36"/>
                </a:lnTo>
                <a:lnTo>
                  <a:pt x="2389" y="29"/>
                </a:lnTo>
                <a:lnTo>
                  <a:pt x="2407" y="22"/>
                </a:lnTo>
                <a:lnTo>
                  <a:pt x="2425" y="16"/>
                </a:lnTo>
                <a:lnTo>
                  <a:pt x="2445" y="12"/>
                </a:lnTo>
                <a:lnTo>
                  <a:pt x="2464" y="7"/>
                </a:lnTo>
                <a:lnTo>
                  <a:pt x="2485" y="4"/>
                </a:lnTo>
                <a:lnTo>
                  <a:pt x="2506" y="2"/>
                </a:lnTo>
                <a:lnTo>
                  <a:pt x="2528" y="1"/>
                </a:lnTo>
                <a:lnTo>
                  <a:pt x="2550" y="1"/>
                </a:lnTo>
                <a:lnTo>
                  <a:pt x="2569" y="1"/>
                </a:lnTo>
                <a:lnTo>
                  <a:pt x="2588" y="2"/>
                </a:lnTo>
                <a:lnTo>
                  <a:pt x="2606" y="4"/>
                </a:lnTo>
                <a:lnTo>
                  <a:pt x="2624" y="6"/>
                </a:lnTo>
                <a:lnTo>
                  <a:pt x="2640" y="10"/>
                </a:lnTo>
                <a:lnTo>
                  <a:pt x="2657" y="13"/>
                </a:lnTo>
                <a:lnTo>
                  <a:pt x="2673" y="17"/>
                </a:lnTo>
                <a:lnTo>
                  <a:pt x="2688" y="22"/>
                </a:lnTo>
                <a:lnTo>
                  <a:pt x="2704" y="28"/>
                </a:lnTo>
                <a:lnTo>
                  <a:pt x="2718" y="34"/>
                </a:lnTo>
                <a:lnTo>
                  <a:pt x="2732" y="41"/>
                </a:lnTo>
                <a:lnTo>
                  <a:pt x="2745" y="48"/>
                </a:lnTo>
                <a:lnTo>
                  <a:pt x="2759" y="55"/>
                </a:lnTo>
                <a:lnTo>
                  <a:pt x="2771" y="64"/>
                </a:lnTo>
                <a:lnTo>
                  <a:pt x="2782" y="72"/>
                </a:lnTo>
                <a:lnTo>
                  <a:pt x="2793" y="82"/>
                </a:lnTo>
                <a:lnTo>
                  <a:pt x="2799" y="82"/>
                </a:lnTo>
                <a:lnTo>
                  <a:pt x="2810" y="72"/>
                </a:lnTo>
                <a:lnTo>
                  <a:pt x="2822" y="64"/>
                </a:lnTo>
                <a:lnTo>
                  <a:pt x="2834" y="55"/>
                </a:lnTo>
                <a:lnTo>
                  <a:pt x="2847" y="48"/>
                </a:lnTo>
                <a:lnTo>
                  <a:pt x="2860" y="41"/>
                </a:lnTo>
                <a:lnTo>
                  <a:pt x="2873" y="34"/>
                </a:lnTo>
                <a:lnTo>
                  <a:pt x="2888" y="28"/>
                </a:lnTo>
                <a:lnTo>
                  <a:pt x="2904" y="22"/>
                </a:lnTo>
                <a:lnTo>
                  <a:pt x="2918" y="17"/>
                </a:lnTo>
                <a:lnTo>
                  <a:pt x="2935" y="13"/>
                </a:lnTo>
                <a:lnTo>
                  <a:pt x="2952" y="10"/>
                </a:lnTo>
                <a:lnTo>
                  <a:pt x="2968" y="6"/>
                </a:lnTo>
                <a:lnTo>
                  <a:pt x="2986" y="4"/>
                </a:lnTo>
                <a:lnTo>
                  <a:pt x="3004" y="2"/>
                </a:lnTo>
                <a:lnTo>
                  <a:pt x="3023" y="1"/>
                </a:lnTo>
                <a:lnTo>
                  <a:pt x="3042" y="1"/>
                </a:lnTo>
                <a:lnTo>
                  <a:pt x="3064" y="1"/>
                </a:lnTo>
                <a:lnTo>
                  <a:pt x="3085" y="2"/>
                </a:lnTo>
                <a:lnTo>
                  <a:pt x="3107" y="4"/>
                </a:lnTo>
                <a:lnTo>
                  <a:pt x="3127" y="7"/>
                </a:lnTo>
                <a:lnTo>
                  <a:pt x="3147" y="12"/>
                </a:lnTo>
                <a:lnTo>
                  <a:pt x="3166" y="16"/>
                </a:lnTo>
                <a:lnTo>
                  <a:pt x="3175" y="20"/>
                </a:lnTo>
                <a:lnTo>
                  <a:pt x="3185" y="22"/>
                </a:lnTo>
                <a:lnTo>
                  <a:pt x="3203" y="29"/>
                </a:lnTo>
                <a:lnTo>
                  <a:pt x="3219" y="36"/>
                </a:lnTo>
                <a:lnTo>
                  <a:pt x="3236" y="44"/>
                </a:lnTo>
                <a:lnTo>
                  <a:pt x="3253" y="53"/>
                </a:lnTo>
                <a:lnTo>
                  <a:pt x="3267" y="63"/>
                </a:lnTo>
                <a:lnTo>
                  <a:pt x="3283" y="73"/>
                </a:lnTo>
                <a:lnTo>
                  <a:pt x="3296" y="83"/>
                </a:lnTo>
                <a:lnTo>
                  <a:pt x="3310" y="95"/>
                </a:lnTo>
                <a:lnTo>
                  <a:pt x="3322" y="108"/>
                </a:lnTo>
                <a:lnTo>
                  <a:pt x="3334" y="120"/>
                </a:lnTo>
                <a:lnTo>
                  <a:pt x="3345" y="133"/>
                </a:lnTo>
                <a:lnTo>
                  <a:pt x="3355" y="148"/>
                </a:lnTo>
                <a:lnTo>
                  <a:pt x="3365" y="161"/>
                </a:lnTo>
                <a:lnTo>
                  <a:pt x="3374" y="177"/>
                </a:lnTo>
                <a:lnTo>
                  <a:pt x="3383" y="192"/>
                </a:lnTo>
                <a:lnTo>
                  <a:pt x="3390" y="208"/>
                </a:lnTo>
                <a:lnTo>
                  <a:pt x="3397" y="223"/>
                </a:lnTo>
                <a:lnTo>
                  <a:pt x="3403" y="240"/>
                </a:lnTo>
                <a:lnTo>
                  <a:pt x="3408" y="258"/>
                </a:lnTo>
                <a:lnTo>
                  <a:pt x="3412" y="275"/>
                </a:lnTo>
                <a:lnTo>
                  <a:pt x="3417" y="292"/>
                </a:lnTo>
                <a:lnTo>
                  <a:pt x="3419" y="310"/>
                </a:lnTo>
                <a:lnTo>
                  <a:pt x="3421" y="329"/>
                </a:lnTo>
                <a:lnTo>
                  <a:pt x="3422" y="348"/>
                </a:lnTo>
                <a:lnTo>
                  <a:pt x="3423" y="367"/>
                </a:lnTo>
                <a:close/>
                <a:moveTo>
                  <a:pt x="4521" y="364"/>
                </a:moveTo>
                <a:lnTo>
                  <a:pt x="4521" y="1093"/>
                </a:lnTo>
                <a:lnTo>
                  <a:pt x="4264" y="1093"/>
                </a:lnTo>
                <a:lnTo>
                  <a:pt x="4264" y="360"/>
                </a:lnTo>
                <a:lnTo>
                  <a:pt x="4264" y="343"/>
                </a:lnTo>
                <a:lnTo>
                  <a:pt x="4266" y="324"/>
                </a:lnTo>
                <a:lnTo>
                  <a:pt x="4268" y="306"/>
                </a:lnTo>
                <a:lnTo>
                  <a:pt x="4270" y="288"/>
                </a:lnTo>
                <a:lnTo>
                  <a:pt x="4274" y="270"/>
                </a:lnTo>
                <a:lnTo>
                  <a:pt x="4279" y="253"/>
                </a:lnTo>
                <a:lnTo>
                  <a:pt x="4283" y="237"/>
                </a:lnTo>
                <a:lnTo>
                  <a:pt x="4290" y="220"/>
                </a:lnTo>
                <a:lnTo>
                  <a:pt x="4297" y="204"/>
                </a:lnTo>
                <a:lnTo>
                  <a:pt x="4300" y="196"/>
                </a:lnTo>
                <a:lnTo>
                  <a:pt x="4303" y="189"/>
                </a:lnTo>
                <a:lnTo>
                  <a:pt x="4312" y="173"/>
                </a:lnTo>
                <a:lnTo>
                  <a:pt x="4321" y="159"/>
                </a:lnTo>
                <a:lnTo>
                  <a:pt x="4330" y="144"/>
                </a:lnTo>
                <a:lnTo>
                  <a:pt x="4341" y="131"/>
                </a:lnTo>
                <a:lnTo>
                  <a:pt x="4353" y="118"/>
                </a:lnTo>
                <a:lnTo>
                  <a:pt x="4364" y="105"/>
                </a:lnTo>
                <a:lnTo>
                  <a:pt x="4377" y="93"/>
                </a:lnTo>
                <a:lnTo>
                  <a:pt x="4389" y="82"/>
                </a:lnTo>
                <a:lnTo>
                  <a:pt x="4404" y="71"/>
                </a:lnTo>
                <a:lnTo>
                  <a:pt x="4418" y="61"/>
                </a:lnTo>
                <a:lnTo>
                  <a:pt x="4434" y="52"/>
                </a:lnTo>
                <a:lnTo>
                  <a:pt x="4450" y="43"/>
                </a:lnTo>
                <a:lnTo>
                  <a:pt x="4466" y="35"/>
                </a:lnTo>
                <a:lnTo>
                  <a:pt x="4483" y="29"/>
                </a:lnTo>
                <a:lnTo>
                  <a:pt x="4502" y="22"/>
                </a:lnTo>
                <a:lnTo>
                  <a:pt x="4520" y="16"/>
                </a:lnTo>
                <a:lnTo>
                  <a:pt x="4539" y="12"/>
                </a:lnTo>
                <a:lnTo>
                  <a:pt x="4559" y="7"/>
                </a:lnTo>
                <a:lnTo>
                  <a:pt x="4579" y="4"/>
                </a:lnTo>
                <a:lnTo>
                  <a:pt x="4600" y="2"/>
                </a:lnTo>
                <a:lnTo>
                  <a:pt x="4621" y="1"/>
                </a:lnTo>
                <a:lnTo>
                  <a:pt x="4644" y="1"/>
                </a:lnTo>
                <a:lnTo>
                  <a:pt x="4667" y="1"/>
                </a:lnTo>
                <a:lnTo>
                  <a:pt x="4689" y="3"/>
                </a:lnTo>
                <a:lnTo>
                  <a:pt x="4711" y="5"/>
                </a:lnTo>
                <a:lnTo>
                  <a:pt x="4732" y="7"/>
                </a:lnTo>
                <a:lnTo>
                  <a:pt x="4752" y="12"/>
                </a:lnTo>
                <a:lnTo>
                  <a:pt x="4771" y="16"/>
                </a:lnTo>
                <a:lnTo>
                  <a:pt x="4789" y="22"/>
                </a:lnTo>
                <a:lnTo>
                  <a:pt x="4807" y="28"/>
                </a:lnTo>
                <a:lnTo>
                  <a:pt x="4823" y="34"/>
                </a:lnTo>
                <a:lnTo>
                  <a:pt x="4839" y="41"/>
                </a:lnTo>
                <a:lnTo>
                  <a:pt x="4855" y="49"/>
                </a:lnTo>
                <a:lnTo>
                  <a:pt x="4869" y="58"/>
                </a:lnTo>
                <a:lnTo>
                  <a:pt x="4882" y="66"/>
                </a:lnTo>
                <a:lnTo>
                  <a:pt x="4895" y="76"/>
                </a:lnTo>
                <a:lnTo>
                  <a:pt x="4907" y="87"/>
                </a:lnTo>
                <a:lnTo>
                  <a:pt x="4919" y="98"/>
                </a:lnTo>
                <a:lnTo>
                  <a:pt x="4930" y="109"/>
                </a:lnTo>
                <a:lnTo>
                  <a:pt x="4940" y="120"/>
                </a:lnTo>
                <a:lnTo>
                  <a:pt x="4949" y="132"/>
                </a:lnTo>
                <a:lnTo>
                  <a:pt x="4958" y="145"/>
                </a:lnTo>
                <a:lnTo>
                  <a:pt x="4967" y="158"/>
                </a:lnTo>
                <a:lnTo>
                  <a:pt x="4975" y="171"/>
                </a:lnTo>
                <a:lnTo>
                  <a:pt x="4982" y="186"/>
                </a:lnTo>
                <a:lnTo>
                  <a:pt x="4988" y="199"/>
                </a:lnTo>
                <a:lnTo>
                  <a:pt x="4994" y="213"/>
                </a:lnTo>
                <a:lnTo>
                  <a:pt x="5000" y="228"/>
                </a:lnTo>
                <a:lnTo>
                  <a:pt x="5004" y="243"/>
                </a:lnTo>
                <a:lnTo>
                  <a:pt x="5007" y="258"/>
                </a:lnTo>
                <a:lnTo>
                  <a:pt x="5012" y="274"/>
                </a:lnTo>
                <a:lnTo>
                  <a:pt x="5014" y="289"/>
                </a:lnTo>
                <a:lnTo>
                  <a:pt x="5016" y="305"/>
                </a:lnTo>
                <a:lnTo>
                  <a:pt x="5019" y="321"/>
                </a:lnTo>
                <a:lnTo>
                  <a:pt x="5020" y="336"/>
                </a:lnTo>
                <a:lnTo>
                  <a:pt x="4764" y="336"/>
                </a:lnTo>
                <a:lnTo>
                  <a:pt x="4762" y="325"/>
                </a:lnTo>
                <a:lnTo>
                  <a:pt x="4760" y="316"/>
                </a:lnTo>
                <a:lnTo>
                  <a:pt x="4756" y="307"/>
                </a:lnTo>
                <a:lnTo>
                  <a:pt x="4753" y="299"/>
                </a:lnTo>
                <a:lnTo>
                  <a:pt x="4749" y="291"/>
                </a:lnTo>
                <a:lnTo>
                  <a:pt x="4743" y="284"/>
                </a:lnTo>
                <a:lnTo>
                  <a:pt x="4737" y="276"/>
                </a:lnTo>
                <a:lnTo>
                  <a:pt x="4734" y="272"/>
                </a:lnTo>
                <a:lnTo>
                  <a:pt x="4731" y="269"/>
                </a:lnTo>
                <a:lnTo>
                  <a:pt x="4723" y="262"/>
                </a:lnTo>
                <a:lnTo>
                  <a:pt x="4715" y="257"/>
                </a:lnTo>
                <a:lnTo>
                  <a:pt x="4707" y="251"/>
                </a:lnTo>
                <a:lnTo>
                  <a:pt x="4698" y="247"/>
                </a:lnTo>
                <a:lnTo>
                  <a:pt x="4688" y="242"/>
                </a:lnTo>
                <a:lnTo>
                  <a:pt x="4678" y="240"/>
                </a:lnTo>
                <a:lnTo>
                  <a:pt x="4667" y="238"/>
                </a:lnTo>
                <a:lnTo>
                  <a:pt x="4656" y="236"/>
                </a:lnTo>
                <a:lnTo>
                  <a:pt x="4644" y="236"/>
                </a:lnTo>
                <a:lnTo>
                  <a:pt x="4629" y="236"/>
                </a:lnTo>
                <a:lnTo>
                  <a:pt x="4616" y="238"/>
                </a:lnTo>
                <a:lnTo>
                  <a:pt x="4602" y="241"/>
                </a:lnTo>
                <a:lnTo>
                  <a:pt x="4597" y="243"/>
                </a:lnTo>
                <a:lnTo>
                  <a:pt x="4590" y="246"/>
                </a:lnTo>
                <a:lnTo>
                  <a:pt x="4579" y="250"/>
                </a:lnTo>
                <a:lnTo>
                  <a:pt x="4575" y="253"/>
                </a:lnTo>
                <a:lnTo>
                  <a:pt x="4569" y="257"/>
                </a:lnTo>
                <a:lnTo>
                  <a:pt x="4565" y="260"/>
                </a:lnTo>
                <a:lnTo>
                  <a:pt x="4560" y="265"/>
                </a:lnTo>
                <a:lnTo>
                  <a:pt x="4552" y="272"/>
                </a:lnTo>
                <a:lnTo>
                  <a:pt x="4544" y="281"/>
                </a:lnTo>
                <a:lnTo>
                  <a:pt x="4539" y="291"/>
                </a:lnTo>
                <a:lnTo>
                  <a:pt x="4533" y="301"/>
                </a:lnTo>
                <a:lnTo>
                  <a:pt x="4529" y="312"/>
                </a:lnTo>
                <a:lnTo>
                  <a:pt x="4527" y="319"/>
                </a:lnTo>
                <a:lnTo>
                  <a:pt x="4525" y="325"/>
                </a:lnTo>
                <a:lnTo>
                  <a:pt x="4523" y="337"/>
                </a:lnTo>
                <a:lnTo>
                  <a:pt x="4521" y="350"/>
                </a:lnTo>
                <a:lnTo>
                  <a:pt x="4521" y="364"/>
                </a:lnTo>
                <a:close/>
                <a:moveTo>
                  <a:pt x="3716" y="20"/>
                </a:moveTo>
                <a:lnTo>
                  <a:pt x="3972" y="20"/>
                </a:lnTo>
                <a:lnTo>
                  <a:pt x="3972" y="556"/>
                </a:lnTo>
                <a:lnTo>
                  <a:pt x="3972" y="1093"/>
                </a:lnTo>
                <a:lnTo>
                  <a:pt x="3716" y="1093"/>
                </a:lnTo>
                <a:lnTo>
                  <a:pt x="3716" y="556"/>
                </a:lnTo>
                <a:lnTo>
                  <a:pt x="3716" y="2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0201" tIns="40100" rIns="80201" bIns="40100" numCol="1" anchor="t" anchorCtr="0" compatLnSpc="1">
            <a:prstTxWarp prst="textNoShape">
              <a:avLst/>
            </a:prstTxWarp>
          </a:bodyPr>
          <a:lstStyle/>
          <a:p>
            <a:endParaRPr lang="en-US" sz="1579">
              <a:solidFill>
                <a:schemeClr val="bg1"/>
              </a:solidFill>
            </a:endParaRPr>
          </a:p>
        </p:txBody>
      </p:sp>
      <p:sp>
        <p:nvSpPr>
          <p:cNvPr id="7" name="Freeform 7">
            <a:hlinkClick r:id="rId2" tooltip="Twitter"/>
          </p:cNvPr>
          <p:cNvSpPr>
            <a:spLocks noChangeAspect="1" noEditPoints="1"/>
          </p:cNvSpPr>
          <p:nvPr/>
        </p:nvSpPr>
        <p:spPr bwMode="auto">
          <a:xfrm>
            <a:off x="4904629" y="685083"/>
            <a:ext cx="252600" cy="317600"/>
          </a:xfrm>
          <a:custGeom>
            <a:avLst/>
            <a:gdLst>
              <a:gd name="T0" fmla="*/ 1215 w 2806"/>
              <a:gd name="T1" fmla="*/ 2154 h 2806"/>
              <a:gd name="T2" fmla="*/ 1391 w 2806"/>
              <a:gd name="T3" fmla="*/ 2115 h 2806"/>
              <a:gd name="T4" fmla="*/ 1549 w 2806"/>
              <a:gd name="T5" fmla="*/ 2052 h 2806"/>
              <a:gd name="T6" fmla="*/ 1690 w 2806"/>
              <a:gd name="T7" fmla="*/ 1968 h 2806"/>
              <a:gd name="T8" fmla="*/ 1813 w 2806"/>
              <a:gd name="T9" fmla="*/ 1866 h 2806"/>
              <a:gd name="T10" fmla="*/ 1917 w 2806"/>
              <a:gd name="T11" fmla="*/ 1747 h 2806"/>
              <a:gd name="T12" fmla="*/ 2002 w 2806"/>
              <a:gd name="T13" fmla="*/ 1618 h 2806"/>
              <a:gd name="T14" fmla="*/ 2069 w 2806"/>
              <a:gd name="T15" fmla="*/ 1479 h 2806"/>
              <a:gd name="T16" fmla="*/ 2115 w 2806"/>
              <a:gd name="T17" fmla="*/ 1336 h 2806"/>
              <a:gd name="T18" fmla="*/ 2144 w 2806"/>
              <a:gd name="T19" fmla="*/ 1166 h 2806"/>
              <a:gd name="T20" fmla="*/ 2148 w 2806"/>
              <a:gd name="T21" fmla="*/ 1022 h 2806"/>
              <a:gd name="T22" fmla="*/ 2264 w 2806"/>
              <a:gd name="T23" fmla="*/ 918 h 2806"/>
              <a:gd name="T24" fmla="*/ 2340 w 2806"/>
              <a:gd name="T25" fmla="*/ 822 h 2806"/>
              <a:gd name="T26" fmla="*/ 2176 w 2806"/>
              <a:gd name="T27" fmla="*/ 873 h 2806"/>
              <a:gd name="T28" fmla="*/ 2175 w 2806"/>
              <a:gd name="T29" fmla="*/ 842 h 2806"/>
              <a:gd name="T30" fmla="*/ 2242 w 2806"/>
              <a:gd name="T31" fmla="*/ 764 h 2806"/>
              <a:gd name="T32" fmla="*/ 2288 w 2806"/>
              <a:gd name="T33" fmla="*/ 670 h 2806"/>
              <a:gd name="T34" fmla="*/ 2139 w 2806"/>
              <a:gd name="T35" fmla="*/ 738 h 2806"/>
              <a:gd name="T36" fmla="*/ 2016 w 2806"/>
              <a:gd name="T37" fmla="*/ 737 h 2806"/>
              <a:gd name="T38" fmla="*/ 1919 w 2806"/>
              <a:gd name="T39" fmla="*/ 674 h 2806"/>
              <a:gd name="T40" fmla="*/ 1804 w 2806"/>
              <a:gd name="T41" fmla="*/ 644 h 2806"/>
              <a:gd name="T42" fmla="*/ 1685 w 2806"/>
              <a:gd name="T43" fmla="*/ 649 h 2806"/>
              <a:gd name="T44" fmla="*/ 1580 w 2806"/>
              <a:gd name="T45" fmla="*/ 689 h 2806"/>
              <a:gd name="T46" fmla="*/ 1491 w 2806"/>
              <a:gd name="T47" fmla="*/ 754 h 2806"/>
              <a:gd name="T48" fmla="*/ 1425 w 2806"/>
              <a:gd name="T49" fmla="*/ 844 h 2806"/>
              <a:gd name="T50" fmla="*/ 1391 w 2806"/>
              <a:gd name="T51" fmla="*/ 930 h 2806"/>
              <a:gd name="T52" fmla="*/ 1380 w 2806"/>
              <a:gd name="T53" fmla="*/ 1049 h 2806"/>
              <a:gd name="T54" fmla="*/ 1329 w 2806"/>
              <a:gd name="T55" fmla="*/ 1110 h 2806"/>
              <a:gd name="T56" fmla="*/ 1157 w 2806"/>
              <a:gd name="T57" fmla="*/ 1077 h 2806"/>
              <a:gd name="T58" fmla="*/ 995 w 2806"/>
              <a:gd name="T59" fmla="*/ 1019 h 2806"/>
              <a:gd name="T60" fmla="*/ 846 w 2806"/>
              <a:gd name="T61" fmla="*/ 938 h 2806"/>
              <a:gd name="T62" fmla="*/ 713 w 2806"/>
              <a:gd name="T63" fmla="*/ 835 h 2806"/>
              <a:gd name="T64" fmla="*/ 596 w 2806"/>
              <a:gd name="T65" fmla="*/ 712 h 2806"/>
              <a:gd name="T66" fmla="*/ 558 w 2806"/>
              <a:gd name="T67" fmla="*/ 804 h 2806"/>
              <a:gd name="T68" fmla="*/ 544 w 2806"/>
              <a:gd name="T69" fmla="*/ 892 h 2806"/>
              <a:gd name="T70" fmla="*/ 549 w 2806"/>
              <a:gd name="T71" fmla="*/ 967 h 2806"/>
              <a:gd name="T72" fmla="*/ 577 w 2806"/>
              <a:gd name="T73" fmla="*/ 1058 h 2806"/>
              <a:gd name="T74" fmla="*/ 630 w 2806"/>
              <a:gd name="T75" fmla="*/ 1148 h 2806"/>
              <a:gd name="T76" fmla="*/ 704 w 2806"/>
              <a:gd name="T77" fmla="*/ 1225 h 2806"/>
              <a:gd name="T78" fmla="*/ 603 w 2806"/>
              <a:gd name="T79" fmla="*/ 1205 h 2806"/>
              <a:gd name="T80" fmla="*/ 542 w 2806"/>
              <a:gd name="T81" fmla="*/ 1200 h 2806"/>
              <a:gd name="T82" fmla="*/ 559 w 2806"/>
              <a:gd name="T83" fmla="*/ 1299 h 2806"/>
              <a:gd name="T84" fmla="*/ 601 w 2806"/>
              <a:gd name="T85" fmla="*/ 1388 h 2806"/>
              <a:gd name="T86" fmla="*/ 652 w 2806"/>
              <a:gd name="T87" fmla="*/ 1451 h 2806"/>
              <a:gd name="T88" fmla="*/ 728 w 2806"/>
              <a:gd name="T89" fmla="*/ 1512 h 2806"/>
              <a:gd name="T90" fmla="*/ 818 w 2806"/>
              <a:gd name="T91" fmla="*/ 1551 h 2806"/>
              <a:gd name="T92" fmla="*/ 775 w 2806"/>
              <a:gd name="T93" fmla="*/ 1571 h 2806"/>
              <a:gd name="T94" fmla="*/ 682 w 2806"/>
              <a:gd name="T95" fmla="*/ 1580 h 2806"/>
              <a:gd name="T96" fmla="*/ 721 w 2806"/>
              <a:gd name="T97" fmla="*/ 1659 h 2806"/>
              <a:gd name="T98" fmla="*/ 777 w 2806"/>
              <a:gd name="T99" fmla="*/ 1727 h 2806"/>
              <a:gd name="T100" fmla="*/ 848 w 2806"/>
              <a:gd name="T101" fmla="*/ 1779 h 2806"/>
              <a:gd name="T102" fmla="*/ 929 w 2806"/>
              <a:gd name="T103" fmla="*/ 1816 h 2806"/>
              <a:gd name="T104" fmla="*/ 1036 w 2806"/>
              <a:gd name="T105" fmla="*/ 1832 h 2806"/>
              <a:gd name="T106" fmla="*/ 930 w 2806"/>
              <a:gd name="T107" fmla="*/ 1901 h 2806"/>
              <a:gd name="T108" fmla="*/ 770 w 2806"/>
              <a:gd name="T109" fmla="*/ 1968 h 2806"/>
              <a:gd name="T110" fmla="*/ 625 w 2806"/>
              <a:gd name="T111" fmla="*/ 1994 h 2806"/>
              <a:gd name="T112" fmla="*/ 489 w 2806"/>
              <a:gd name="T113" fmla="*/ 1994 h 2806"/>
              <a:gd name="T114" fmla="*/ 600 w 2806"/>
              <a:gd name="T115" fmla="*/ 2065 h 2806"/>
              <a:gd name="T116" fmla="*/ 819 w 2806"/>
              <a:gd name="T117" fmla="*/ 2138 h 2806"/>
              <a:gd name="T118" fmla="*/ 935 w 2806"/>
              <a:gd name="T119" fmla="*/ 2158 h 2806"/>
              <a:gd name="T120" fmla="*/ 0 w 2806"/>
              <a:gd name="T121" fmla="*/ 0 h 2806"/>
              <a:gd name="T122" fmla="*/ 2806 w 2806"/>
              <a:gd name="T123" fmla="*/ 1403 h 2806"/>
              <a:gd name="T124" fmla="*/ 0 w 2806"/>
              <a:gd name="T125" fmla="*/ 2806 h 28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806" h="2806">
                <a:moveTo>
                  <a:pt x="1055" y="2164"/>
                </a:moveTo>
                <a:lnTo>
                  <a:pt x="1089" y="2164"/>
                </a:lnTo>
                <a:lnTo>
                  <a:pt x="1121" y="2162"/>
                </a:lnTo>
                <a:lnTo>
                  <a:pt x="1153" y="2160"/>
                </a:lnTo>
                <a:lnTo>
                  <a:pt x="1184" y="2158"/>
                </a:lnTo>
                <a:lnTo>
                  <a:pt x="1215" y="2154"/>
                </a:lnTo>
                <a:lnTo>
                  <a:pt x="1246" y="2149"/>
                </a:lnTo>
                <a:lnTo>
                  <a:pt x="1276" y="2144"/>
                </a:lnTo>
                <a:lnTo>
                  <a:pt x="1305" y="2138"/>
                </a:lnTo>
                <a:lnTo>
                  <a:pt x="1335" y="2132"/>
                </a:lnTo>
                <a:lnTo>
                  <a:pt x="1364" y="2124"/>
                </a:lnTo>
                <a:lnTo>
                  <a:pt x="1391" y="2115"/>
                </a:lnTo>
                <a:lnTo>
                  <a:pt x="1419" y="2107"/>
                </a:lnTo>
                <a:lnTo>
                  <a:pt x="1446" y="2097"/>
                </a:lnTo>
                <a:lnTo>
                  <a:pt x="1472" y="2087"/>
                </a:lnTo>
                <a:lnTo>
                  <a:pt x="1498" y="2076"/>
                </a:lnTo>
                <a:lnTo>
                  <a:pt x="1524" y="2065"/>
                </a:lnTo>
                <a:lnTo>
                  <a:pt x="1549" y="2052"/>
                </a:lnTo>
                <a:lnTo>
                  <a:pt x="1574" y="2040"/>
                </a:lnTo>
                <a:lnTo>
                  <a:pt x="1599" y="2026"/>
                </a:lnTo>
                <a:lnTo>
                  <a:pt x="1622" y="2013"/>
                </a:lnTo>
                <a:lnTo>
                  <a:pt x="1646" y="1998"/>
                </a:lnTo>
                <a:lnTo>
                  <a:pt x="1668" y="1983"/>
                </a:lnTo>
                <a:lnTo>
                  <a:pt x="1690" y="1968"/>
                </a:lnTo>
                <a:lnTo>
                  <a:pt x="1712" y="1952"/>
                </a:lnTo>
                <a:lnTo>
                  <a:pt x="1733" y="1936"/>
                </a:lnTo>
                <a:lnTo>
                  <a:pt x="1753" y="1919"/>
                </a:lnTo>
                <a:lnTo>
                  <a:pt x="1774" y="1901"/>
                </a:lnTo>
                <a:lnTo>
                  <a:pt x="1794" y="1883"/>
                </a:lnTo>
                <a:lnTo>
                  <a:pt x="1813" y="1866"/>
                </a:lnTo>
                <a:lnTo>
                  <a:pt x="1831" y="1847"/>
                </a:lnTo>
                <a:lnTo>
                  <a:pt x="1850" y="1827"/>
                </a:lnTo>
                <a:lnTo>
                  <a:pt x="1867" y="1807"/>
                </a:lnTo>
                <a:lnTo>
                  <a:pt x="1884" y="1788"/>
                </a:lnTo>
                <a:lnTo>
                  <a:pt x="1900" y="1768"/>
                </a:lnTo>
                <a:lnTo>
                  <a:pt x="1917" y="1747"/>
                </a:lnTo>
                <a:lnTo>
                  <a:pt x="1933" y="1727"/>
                </a:lnTo>
                <a:lnTo>
                  <a:pt x="1947" y="1705"/>
                </a:lnTo>
                <a:lnTo>
                  <a:pt x="1962" y="1684"/>
                </a:lnTo>
                <a:lnTo>
                  <a:pt x="1976" y="1661"/>
                </a:lnTo>
                <a:lnTo>
                  <a:pt x="1990" y="1640"/>
                </a:lnTo>
                <a:lnTo>
                  <a:pt x="2002" y="1618"/>
                </a:lnTo>
                <a:lnTo>
                  <a:pt x="2014" y="1595"/>
                </a:lnTo>
                <a:lnTo>
                  <a:pt x="2027" y="1572"/>
                </a:lnTo>
                <a:lnTo>
                  <a:pt x="2038" y="1549"/>
                </a:lnTo>
                <a:lnTo>
                  <a:pt x="2048" y="1526"/>
                </a:lnTo>
                <a:lnTo>
                  <a:pt x="2059" y="1503"/>
                </a:lnTo>
                <a:lnTo>
                  <a:pt x="2069" y="1479"/>
                </a:lnTo>
                <a:lnTo>
                  <a:pt x="2077" y="1456"/>
                </a:lnTo>
                <a:lnTo>
                  <a:pt x="2086" y="1432"/>
                </a:lnTo>
                <a:lnTo>
                  <a:pt x="2093" y="1408"/>
                </a:lnTo>
                <a:lnTo>
                  <a:pt x="2101" y="1384"/>
                </a:lnTo>
                <a:lnTo>
                  <a:pt x="2108" y="1361"/>
                </a:lnTo>
                <a:lnTo>
                  <a:pt x="2115" y="1336"/>
                </a:lnTo>
                <a:lnTo>
                  <a:pt x="2121" y="1312"/>
                </a:lnTo>
                <a:lnTo>
                  <a:pt x="2126" y="1288"/>
                </a:lnTo>
                <a:lnTo>
                  <a:pt x="2131" y="1263"/>
                </a:lnTo>
                <a:lnTo>
                  <a:pt x="2136" y="1239"/>
                </a:lnTo>
                <a:lnTo>
                  <a:pt x="2138" y="1215"/>
                </a:lnTo>
                <a:lnTo>
                  <a:pt x="2144" y="1166"/>
                </a:lnTo>
                <a:lnTo>
                  <a:pt x="2147" y="1143"/>
                </a:lnTo>
                <a:lnTo>
                  <a:pt x="2148" y="1118"/>
                </a:lnTo>
                <a:lnTo>
                  <a:pt x="2148" y="1095"/>
                </a:lnTo>
                <a:lnTo>
                  <a:pt x="2149" y="1071"/>
                </a:lnTo>
                <a:lnTo>
                  <a:pt x="2148" y="1046"/>
                </a:lnTo>
                <a:lnTo>
                  <a:pt x="2148" y="1022"/>
                </a:lnTo>
                <a:lnTo>
                  <a:pt x="2175" y="1001"/>
                </a:lnTo>
                <a:lnTo>
                  <a:pt x="2189" y="990"/>
                </a:lnTo>
                <a:lnTo>
                  <a:pt x="2202" y="978"/>
                </a:lnTo>
                <a:lnTo>
                  <a:pt x="2228" y="955"/>
                </a:lnTo>
                <a:lnTo>
                  <a:pt x="2252" y="930"/>
                </a:lnTo>
                <a:lnTo>
                  <a:pt x="2264" y="918"/>
                </a:lnTo>
                <a:lnTo>
                  <a:pt x="2275" y="904"/>
                </a:lnTo>
                <a:lnTo>
                  <a:pt x="2288" y="892"/>
                </a:lnTo>
                <a:lnTo>
                  <a:pt x="2299" y="878"/>
                </a:lnTo>
                <a:lnTo>
                  <a:pt x="2320" y="851"/>
                </a:lnTo>
                <a:lnTo>
                  <a:pt x="2330" y="836"/>
                </a:lnTo>
                <a:lnTo>
                  <a:pt x="2340" y="822"/>
                </a:lnTo>
                <a:lnTo>
                  <a:pt x="2314" y="834"/>
                </a:lnTo>
                <a:lnTo>
                  <a:pt x="2286" y="844"/>
                </a:lnTo>
                <a:lnTo>
                  <a:pt x="2259" y="852"/>
                </a:lnTo>
                <a:lnTo>
                  <a:pt x="2232" y="861"/>
                </a:lnTo>
                <a:lnTo>
                  <a:pt x="2205" y="867"/>
                </a:lnTo>
                <a:lnTo>
                  <a:pt x="2176" y="873"/>
                </a:lnTo>
                <a:lnTo>
                  <a:pt x="2148" y="878"/>
                </a:lnTo>
                <a:lnTo>
                  <a:pt x="2118" y="883"/>
                </a:lnTo>
                <a:lnTo>
                  <a:pt x="2133" y="873"/>
                </a:lnTo>
                <a:lnTo>
                  <a:pt x="2148" y="863"/>
                </a:lnTo>
                <a:lnTo>
                  <a:pt x="2162" y="853"/>
                </a:lnTo>
                <a:lnTo>
                  <a:pt x="2175" y="842"/>
                </a:lnTo>
                <a:lnTo>
                  <a:pt x="2188" y="830"/>
                </a:lnTo>
                <a:lnTo>
                  <a:pt x="2200" y="818"/>
                </a:lnTo>
                <a:lnTo>
                  <a:pt x="2211" y="805"/>
                </a:lnTo>
                <a:lnTo>
                  <a:pt x="2222" y="792"/>
                </a:lnTo>
                <a:lnTo>
                  <a:pt x="2232" y="778"/>
                </a:lnTo>
                <a:lnTo>
                  <a:pt x="2242" y="764"/>
                </a:lnTo>
                <a:lnTo>
                  <a:pt x="2252" y="749"/>
                </a:lnTo>
                <a:lnTo>
                  <a:pt x="2261" y="735"/>
                </a:lnTo>
                <a:lnTo>
                  <a:pt x="2268" y="719"/>
                </a:lnTo>
                <a:lnTo>
                  <a:pt x="2275" y="702"/>
                </a:lnTo>
                <a:lnTo>
                  <a:pt x="2282" y="686"/>
                </a:lnTo>
                <a:lnTo>
                  <a:pt x="2288" y="670"/>
                </a:lnTo>
                <a:lnTo>
                  <a:pt x="2259" y="686"/>
                </a:lnTo>
                <a:lnTo>
                  <a:pt x="2231" y="701"/>
                </a:lnTo>
                <a:lnTo>
                  <a:pt x="2201" y="715"/>
                </a:lnTo>
                <a:lnTo>
                  <a:pt x="2170" y="727"/>
                </a:lnTo>
                <a:lnTo>
                  <a:pt x="2155" y="732"/>
                </a:lnTo>
                <a:lnTo>
                  <a:pt x="2139" y="738"/>
                </a:lnTo>
                <a:lnTo>
                  <a:pt x="2108" y="748"/>
                </a:lnTo>
                <a:lnTo>
                  <a:pt x="2092" y="752"/>
                </a:lnTo>
                <a:lnTo>
                  <a:pt x="2076" y="756"/>
                </a:lnTo>
                <a:lnTo>
                  <a:pt x="2044" y="763"/>
                </a:lnTo>
                <a:lnTo>
                  <a:pt x="2030" y="749"/>
                </a:lnTo>
                <a:lnTo>
                  <a:pt x="2016" y="737"/>
                </a:lnTo>
                <a:lnTo>
                  <a:pt x="2001" y="725"/>
                </a:lnTo>
                <a:lnTo>
                  <a:pt x="1986" y="712"/>
                </a:lnTo>
                <a:lnTo>
                  <a:pt x="1970" y="702"/>
                </a:lnTo>
                <a:lnTo>
                  <a:pt x="1954" y="693"/>
                </a:lnTo>
                <a:lnTo>
                  <a:pt x="1936" y="683"/>
                </a:lnTo>
                <a:lnTo>
                  <a:pt x="1919" y="674"/>
                </a:lnTo>
                <a:lnTo>
                  <a:pt x="1900" y="667"/>
                </a:lnTo>
                <a:lnTo>
                  <a:pt x="1882" y="660"/>
                </a:lnTo>
                <a:lnTo>
                  <a:pt x="1863" y="655"/>
                </a:lnTo>
                <a:lnTo>
                  <a:pt x="1844" y="650"/>
                </a:lnTo>
                <a:lnTo>
                  <a:pt x="1824" y="647"/>
                </a:lnTo>
                <a:lnTo>
                  <a:pt x="1804" y="644"/>
                </a:lnTo>
                <a:lnTo>
                  <a:pt x="1784" y="643"/>
                </a:lnTo>
                <a:lnTo>
                  <a:pt x="1763" y="642"/>
                </a:lnTo>
                <a:lnTo>
                  <a:pt x="1743" y="642"/>
                </a:lnTo>
                <a:lnTo>
                  <a:pt x="1724" y="644"/>
                </a:lnTo>
                <a:lnTo>
                  <a:pt x="1705" y="647"/>
                </a:lnTo>
                <a:lnTo>
                  <a:pt x="1685" y="649"/>
                </a:lnTo>
                <a:lnTo>
                  <a:pt x="1667" y="654"/>
                </a:lnTo>
                <a:lnTo>
                  <a:pt x="1649" y="659"/>
                </a:lnTo>
                <a:lnTo>
                  <a:pt x="1631" y="665"/>
                </a:lnTo>
                <a:lnTo>
                  <a:pt x="1613" y="672"/>
                </a:lnTo>
                <a:lnTo>
                  <a:pt x="1596" y="680"/>
                </a:lnTo>
                <a:lnTo>
                  <a:pt x="1580" y="689"/>
                </a:lnTo>
                <a:lnTo>
                  <a:pt x="1564" y="698"/>
                </a:lnTo>
                <a:lnTo>
                  <a:pt x="1548" y="707"/>
                </a:lnTo>
                <a:lnTo>
                  <a:pt x="1533" y="719"/>
                </a:lnTo>
                <a:lnTo>
                  <a:pt x="1518" y="730"/>
                </a:lnTo>
                <a:lnTo>
                  <a:pt x="1505" y="742"/>
                </a:lnTo>
                <a:lnTo>
                  <a:pt x="1491" y="754"/>
                </a:lnTo>
                <a:lnTo>
                  <a:pt x="1479" y="768"/>
                </a:lnTo>
                <a:lnTo>
                  <a:pt x="1466" y="782"/>
                </a:lnTo>
                <a:lnTo>
                  <a:pt x="1455" y="796"/>
                </a:lnTo>
                <a:lnTo>
                  <a:pt x="1444" y="811"/>
                </a:lnTo>
                <a:lnTo>
                  <a:pt x="1434" y="827"/>
                </a:lnTo>
                <a:lnTo>
                  <a:pt x="1425" y="844"/>
                </a:lnTo>
                <a:lnTo>
                  <a:pt x="1420" y="851"/>
                </a:lnTo>
                <a:lnTo>
                  <a:pt x="1417" y="860"/>
                </a:lnTo>
                <a:lnTo>
                  <a:pt x="1409" y="877"/>
                </a:lnTo>
                <a:lnTo>
                  <a:pt x="1402" y="894"/>
                </a:lnTo>
                <a:lnTo>
                  <a:pt x="1396" y="912"/>
                </a:lnTo>
                <a:lnTo>
                  <a:pt x="1391" y="930"/>
                </a:lnTo>
                <a:lnTo>
                  <a:pt x="1387" y="949"/>
                </a:lnTo>
                <a:lnTo>
                  <a:pt x="1383" y="967"/>
                </a:lnTo>
                <a:lnTo>
                  <a:pt x="1381" y="987"/>
                </a:lnTo>
                <a:lnTo>
                  <a:pt x="1380" y="1007"/>
                </a:lnTo>
                <a:lnTo>
                  <a:pt x="1378" y="1027"/>
                </a:lnTo>
                <a:lnTo>
                  <a:pt x="1380" y="1049"/>
                </a:lnTo>
                <a:lnTo>
                  <a:pt x="1381" y="1060"/>
                </a:lnTo>
                <a:lnTo>
                  <a:pt x="1381" y="1071"/>
                </a:lnTo>
                <a:lnTo>
                  <a:pt x="1385" y="1092"/>
                </a:lnTo>
                <a:lnTo>
                  <a:pt x="1388" y="1113"/>
                </a:lnTo>
                <a:lnTo>
                  <a:pt x="1359" y="1112"/>
                </a:lnTo>
                <a:lnTo>
                  <a:pt x="1329" y="1110"/>
                </a:lnTo>
                <a:lnTo>
                  <a:pt x="1300" y="1106"/>
                </a:lnTo>
                <a:lnTo>
                  <a:pt x="1271" y="1101"/>
                </a:lnTo>
                <a:lnTo>
                  <a:pt x="1242" y="1096"/>
                </a:lnTo>
                <a:lnTo>
                  <a:pt x="1214" y="1091"/>
                </a:lnTo>
                <a:lnTo>
                  <a:pt x="1185" y="1085"/>
                </a:lnTo>
                <a:lnTo>
                  <a:pt x="1157" y="1077"/>
                </a:lnTo>
                <a:lnTo>
                  <a:pt x="1130" y="1069"/>
                </a:lnTo>
                <a:lnTo>
                  <a:pt x="1101" y="1060"/>
                </a:lnTo>
                <a:lnTo>
                  <a:pt x="1075" y="1051"/>
                </a:lnTo>
                <a:lnTo>
                  <a:pt x="1048" y="1041"/>
                </a:lnTo>
                <a:lnTo>
                  <a:pt x="1021" y="1030"/>
                </a:lnTo>
                <a:lnTo>
                  <a:pt x="995" y="1019"/>
                </a:lnTo>
                <a:lnTo>
                  <a:pt x="970" y="1007"/>
                </a:lnTo>
                <a:lnTo>
                  <a:pt x="944" y="994"/>
                </a:lnTo>
                <a:lnTo>
                  <a:pt x="919" y="981"/>
                </a:lnTo>
                <a:lnTo>
                  <a:pt x="895" y="967"/>
                </a:lnTo>
                <a:lnTo>
                  <a:pt x="870" y="952"/>
                </a:lnTo>
                <a:lnTo>
                  <a:pt x="846" y="938"/>
                </a:lnTo>
                <a:lnTo>
                  <a:pt x="823" y="921"/>
                </a:lnTo>
                <a:lnTo>
                  <a:pt x="801" y="905"/>
                </a:lnTo>
                <a:lnTo>
                  <a:pt x="777" y="888"/>
                </a:lnTo>
                <a:lnTo>
                  <a:pt x="756" y="871"/>
                </a:lnTo>
                <a:lnTo>
                  <a:pt x="734" y="853"/>
                </a:lnTo>
                <a:lnTo>
                  <a:pt x="713" y="835"/>
                </a:lnTo>
                <a:lnTo>
                  <a:pt x="692" y="815"/>
                </a:lnTo>
                <a:lnTo>
                  <a:pt x="672" y="795"/>
                </a:lnTo>
                <a:lnTo>
                  <a:pt x="652" y="775"/>
                </a:lnTo>
                <a:lnTo>
                  <a:pt x="634" y="754"/>
                </a:lnTo>
                <a:lnTo>
                  <a:pt x="615" y="733"/>
                </a:lnTo>
                <a:lnTo>
                  <a:pt x="596" y="712"/>
                </a:lnTo>
                <a:lnTo>
                  <a:pt x="585" y="735"/>
                </a:lnTo>
                <a:lnTo>
                  <a:pt x="580" y="746"/>
                </a:lnTo>
                <a:lnTo>
                  <a:pt x="574" y="757"/>
                </a:lnTo>
                <a:lnTo>
                  <a:pt x="565" y="780"/>
                </a:lnTo>
                <a:lnTo>
                  <a:pt x="562" y="792"/>
                </a:lnTo>
                <a:lnTo>
                  <a:pt x="558" y="804"/>
                </a:lnTo>
                <a:lnTo>
                  <a:pt x="556" y="816"/>
                </a:lnTo>
                <a:lnTo>
                  <a:pt x="553" y="829"/>
                </a:lnTo>
                <a:lnTo>
                  <a:pt x="548" y="853"/>
                </a:lnTo>
                <a:lnTo>
                  <a:pt x="547" y="866"/>
                </a:lnTo>
                <a:lnTo>
                  <a:pt x="546" y="879"/>
                </a:lnTo>
                <a:lnTo>
                  <a:pt x="544" y="892"/>
                </a:lnTo>
                <a:lnTo>
                  <a:pt x="544" y="905"/>
                </a:lnTo>
                <a:lnTo>
                  <a:pt x="544" y="918"/>
                </a:lnTo>
                <a:lnTo>
                  <a:pt x="546" y="930"/>
                </a:lnTo>
                <a:lnTo>
                  <a:pt x="547" y="942"/>
                </a:lnTo>
                <a:lnTo>
                  <a:pt x="548" y="955"/>
                </a:lnTo>
                <a:lnTo>
                  <a:pt x="549" y="967"/>
                </a:lnTo>
                <a:lnTo>
                  <a:pt x="552" y="978"/>
                </a:lnTo>
                <a:lnTo>
                  <a:pt x="557" y="1002"/>
                </a:lnTo>
                <a:lnTo>
                  <a:pt x="561" y="1013"/>
                </a:lnTo>
                <a:lnTo>
                  <a:pt x="564" y="1025"/>
                </a:lnTo>
                <a:lnTo>
                  <a:pt x="572" y="1048"/>
                </a:lnTo>
                <a:lnTo>
                  <a:pt x="577" y="1058"/>
                </a:lnTo>
                <a:lnTo>
                  <a:pt x="582" y="1069"/>
                </a:lnTo>
                <a:lnTo>
                  <a:pt x="591" y="1090"/>
                </a:lnTo>
                <a:lnTo>
                  <a:pt x="604" y="1110"/>
                </a:lnTo>
                <a:lnTo>
                  <a:pt x="610" y="1119"/>
                </a:lnTo>
                <a:lnTo>
                  <a:pt x="616" y="1129"/>
                </a:lnTo>
                <a:lnTo>
                  <a:pt x="630" y="1148"/>
                </a:lnTo>
                <a:lnTo>
                  <a:pt x="646" y="1165"/>
                </a:lnTo>
                <a:lnTo>
                  <a:pt x="662" y="1181"/>
                </a:lnTo>
                <a:lnTo>
                  <a:pt x="679" y="1197"/>
                </a:lnTo>
                <a:lnTo>
                  <a:pt x="697" y="1212"/>
                </a:lnTo>
                <a:lnTo>
                  <a:pt x="715" y="1226"/>
                </a:lnTo>
                <a:lnTo>
                  <a:pt x="704" y="1225"/>
                </a:lnTo>
                <a:lnTo>
                  <a:pt x="692" y="1223"/>
                </a:lnTo>
                <a:lnTo>
                  <a:pt x="669" y="1221"/>
                </a:lnTo>
                <a:lnTo>
                  <a:pt x="658" y="1220"/>
                </a:lnTo>
                <a:lnTo>
                  <a:pt x="647" y="1217"/>
                </a:lnTo>
                <a:lnTo>
                  <a:pt x="625" y="1211"/>
                </a:lnTo>
                <a:lnTo>
                  <a:pt x="603" y="1205"/>
                </a:lnTo>
                <a:lnTo>
                  <a:pt x="582" y="1196"/>
                </a:lnTo>
                <a:lnTo>
                  <a:pt x="562" y="1187"/>
                </a:lnTo>
                <a:lnTo>
                  <a:pt x="552" y="1183"/>
                </a:lnTo>
                <a:lnTo>
                  <a:pt x="542" y="1178"/>
                </a:lnTo>
                <a:lnTo>
                  <a:pt x="542" y="1183"/>
                </a:lnTo>
                <a:lnTo>
                  <a:pt x="542" y="1200"/>
                </a:lnTo>
                <a:lnTo>
                  <a:pt x="543" y="1217"/>
                </a:lnTo>
                <a:lnTo>
                  <a:pt x="544" y="1233"/>
                </a:lnTo>
                <a:lnTo>
                  <a:pt x="548" y="1251"/>
                </a:lnTo>
                <a:lnTo>
                  <a:pt x="551" y="1267"/>
                </a:lnTo>
                <a:lnTo>
                  <a:pt x="556" y="1283"/>
                </a:lnTo>
                <a:lnTo>
                  <a:pt x="559" y="1299"/>
                </a:lnTo>
                <a:lnTo>
                  <a:pt x="565" y="1315"/>
                </a:lnTo>
                <a:lnTo>
                  <a:pt x="572" y="1330"/>
                </a:lnTo>
                <a:lnTo>
                  <a:pt x="578" y="1345"/>
                </a:lnTo>
                <a:lnTo>
                  <a:pt x="585" y="1359"/>
                </a:lnTo>
                <a:lnTo>
                  <a:pt x="593" y="1374"/>
                </a:lnTo>
                <a:lnTo>
                  <a:pt x="601" y="1388"/>
                </a:lnTo>
                <a:lnTo>
                  <a:pt x="610" y="1402"/>
                </a:lnTo>
                <a:lnTo>
                  <a:pt x="620" y="1414"/>
                </a:lnTo>
                <a:lnTo>
                  <a:pt x="625" y="1421"/>
                </a:lnTo>
                <a:lnTo>
                  <a:pt x="630" y="1428"/>
                </a:lnTo>
                <a:lnTo>
                  <a:pt x="641" y="1440"/>
                </a:lnTo>
                <a:lnTo>
                  <a:pt x="652" y="1451"/>
                </a:lnTo>
                <a:lnTo>
                  <a:pt x="663" y="1462"/>
                </a:lnTo>
                <a:lnTo>
                  <a:pt x="676" y="1473"/>
                </a:lnTo>
                <a:lnTo>
                  <a:pt x="688" y="1483"/>
                </a:lnTo>
                <a:lnTo>
                  <a:pt x="700" y="1493"/>
                </a:lnTo>
                <a:lnTo>
                  <a:pt x="714" y="1503"/>
                </a:lnTo>
                <a:lnTo>
                  <a:pt x="728" y="1512"/>
                </a:lnTo>
                <a:lnTo>
                  <a:pt x="741" y="1519"/>
                </a:lnTo>
                <a:lnTo>
                  <a:pt x="756" y="1526"/>
                </a:lnTo>
                <a:lnTo>
                  <a:pt x="771" y="1534"/>
                </a:lnTo>
                <a:lnTo>
                  <a:pt x="786" y="1540"/>
                </a:lnTo>
                <a:lnTo>
                  <a:pt x="802" y="1546"/>
                </a:lnTo>
                <a:lnTo>
                  <a:pt x="818" y="1551"/>
                </a:lnTo>
                <a:lnTo>
                  <a:pt x="834" y="1555"/>
                </a:lnTo>
                <a:lnTo>
                  <a:pt x="850" y="1559"/>
                </a:lnTo>
                <a:lnTo>
                  <a:pt x="825" y="1565"/>
                </a:lnTo>
                <a:lnTo>
                  <a:pt x="801" y="1569"/>
                </a:lnTo>
                <a:lnTo>
                  <a:pt x="787" y="1570"/>
                </a:lnTo>
                <a:lnTo>
                  <a:pt x="775" y="1571"/>
                </a:lnTo>
                <a:lnTo>
                  <a:pt x="749" y="1572"/>
                </a:lnTo>
                <a:lnTo>
                  <a:pt x="730" y="1572"/>
                </a:lnTo>
                <a:lnTo>
                  <a:pt x="711" y="1571"/>
                </a:lnTo>
                <a:lnTo>
                  <a:pt x="694" y="1569"/>
                </a:lnTo>
                <a:lnTo>
                  <a:pt x="677" y="1565"/>
                </a:lnTo>
                <a:lnTo>
                  <a:pt x="682" y="1580"/>
                </a:lnTo>
                <a:lnTo>
                  <a:pt x="687" y="1593"/>
                </a:lnTo>
                <a:lnTo>
                  <a:pt x="693" y="1607"/>
                </a:lnTo>
                <a:lnTo>
                  <a:pt x="699" y="1621"/>
                </a:lnTo>
                <a:lnTo>
                  <a:pt x="705" y="1634"/>
                </a:lnTo>
                <a:lnTo>
                  <a:pt x="713" y="1647"/>
                </a:lnTo>
                <a:lnTo>
                  <a:pt x="721" y="1659"/>
                </a:lnTo>
                <a:lnTo>
                  <a:pt x="730" y="1671"/>
                </a:lnTo>
                <a:lnTo>
                  <a:pt x="739" y="1682"/>
                </a:lnTo>
                <a:lnTo>
                  <a:pt x="747" y="1695"/>
                </a:lnTo>
                <a:lnTo>
                  <a:pt x="757" y="1706"/>
                </a:lnTo>
                <a:lnTo>
                  <a:pt x="767" y="1716"/>
                </a:lnTo>
                <a:lnTo>
                  <a:pt x="777" y="1727"/>
                </a:lnTo>
                <a:lnTo>
                  <a:pt x="788" y="1737"/>
                </a:lnTo>
                <a:lnTo>
                  <a:pt x="799" y="1745"/>
                </a:lnTo>
                <a:lnTo>
                  <a:pt x="812" y="1755"/>
                </a:lnTo>
                <a:lnTo>
                  <a:pt x="823" y="1764"/>
                </a:lnTo>
                <a:lnTo>
                  <a:pt x="835" y="1771"/>
                </a:lnTo>
                <a:lnTo>
                  <a:pt x="848" y="1779"/>
                </a:lnTo>
                <a:lnTo>
                  <a:pt x="861" y="1786"/>
                </a:lnTo>
                <a:lnTo>
                  <a:pt x="874" y="1794"/>
                </a:lnTo>
                <a:lnTo>
                  <a:pt x="887" y="1800"/>
                </a:lnTo>
                <a:lnTo>
                  <a:pt x="901" y="1806"/>
                </a:lnTo>
                <a:lnTo>
                  <a:pt x="916" y="1811"/>
                </a:lnTo>
                <a:lnTo>
                  <a:pt x="929" y="1816"/>
                </a:lnTo>
                <a:lnTo>
                  <a:pt x="944" y="1820"/>
                </a:lnTo>
                <a:lnTo>
                  <a:pt x="974" y="1826"/>
                </a:lnTo>
                <a:lnTo>
                  <a:pt x="989" y="1828"/>
                </a:lnTo>
                <a:lnTo>
                  <a:pt x="1005" y="1831"/>
                </a:lnTo>
                <a:lnTo>
                  <a:pt x="1020" y="1832"/>
                </a:lnTo>
                <a:lnTo>
                  <a:pt x="1036" y="1832"/>
                </a:lnTo>
                <a:lnTo>
                  <a:pt x="1011" y="1851"/>
                </a:lnTo>
                <a:lnTo>
                  <a:pt x="997" y="1861"/>
                </a:lnTo>
                <a:lnTo>
                  <a:pt x="985" y="1869"/>
                </a:lnTo>
                <a:lnTo>
                  <a:pt x="971" y="1878"/>
                </a:lnTo>
                <a:lnTo>
                  <a:pt x="958" y="1885"/>
                </a:lnTo>
                <a:lnTo>
                  <a:pt x="930" y="1901"/>
                </a:lnTo>
                <a:lnTo>
                  <a:pt x="903" y="1916"/>
                </a:lnTo>
                <a:lnTo>
                  <a:pt x="874" y="1930"/>
                </a:lnTo>
                <a:lnTo>
                  <a:pt x="845" y="1942"/>
                </a:lnTo>
                <a:lnTo>
                  <a:pt x="815" y="1953"/>
                </a:lnTo>
                <a:lnTo>
                  <a:pt x="784" y="1963"/>
                </a:lnTo>
                <a:lnTo>
                  <a:pt x="770" y="1968"/>
                </a:lnTo>
                <a:lnTo>
                  <a:pt x="754" y="1972"/>
                </a:lnTo>
                <a:lnTo>
                  <a:pt x="723" y="1979"/>
                </a:lnTo>
                <a:lnTo>
                  <a:pt x="690" y="1986"/>
                </a:lnTo>
                <a:lnTo>
                  <a:pt x="658" y="1990"/>
                </a:lnTo>
                <a:lnTo>
                  <a:pt x="641" y="1993"/>
                </a:lnTo>
                <a:lnTo>
                  <a:pt x="625" y="1994"/>
                </a:lnTo>
                <a:lnTo>
                  <a:pt x="591" y="1997"/>
                </a:lnTo>
                <a:lnTo>
                  <a:pt x="575" y="1997"/>
                </a:lnTo>
                <a:lnTo>
                  <a:pt x="558" y="1997"/>
                </a:lnTo>
                <a:lnTo>
                  <a:pt x="535" y="1997"/>
                </a:lnTo>
                <a:lnTo>
                  <a:pt x="512" y="1995"/>
                </a:lnTo>
                <a:lnTo>
                  <a:pt x="489" y="1994"/>
                </a:lnTo>
                <a:lnTo>
                  <a:pt x="466" y="1992"/>
                </a:lnTo>
                <a:lnTo>
                  <a:pt x="499" y="2012"/>
                </a:lnTo>
                <a:lnTo>
                  <a:pt x="532" y="2030"/>
                </a:lnTo>
                <a:lnTo>
                  <a:pt x="548" y="2039"/>
                </a:lnTo>
                <a:lnTo>
                  <a:pt x="565" y="2047"/>
                </a:lnTo>
                <a:lnTo>
                  <a:pt x="600" y="2065"/>
                </a:lnTo>
                <a:lnTo>
                  <a:pt x="635" y="2080"/>
                </a:lnTo>
                <a:lnTo>
                  <a:pt x="671" y="2094"/>
                </a:lnTo>
                <a:lnTo>
                  <a:pt x="707" y="2107"/>
                </a:lnTo>
                <a:lnTo>
                  <a:pt x="744" y="2119"/>
                </a:lnTo>
                <a:lnTo>
                  <a:pt x="781" y="2129"/>
                </a:lnTo>
                <a:lnTo>
                  <a:pt x="819" y="2138"/>
                </a:lnTo>
                <a:lnTo>
                  <a:pt x="838" y="2143"/>
                </a:lnTo>
                <a:lnTo>
                  <a:pt x="857" y="2146"/>
                </a:lnTo>
                <a:lnTo>
                  <a:pt x="876" y="2149"/>
                </a:lnTo>
                <a:lnTo>
                  <a:pt x="896" y="2153"/>
                </a:lnTo>
                <a:lnTo>
                  <a:pt x="916" y="2155"/>
                </a:lnTo>
                <a:lnTo>
                  <a:pt x="935" y="2158"/>
                </a:lnTo>
                <a:lnTo>
                  <a:pt x="975" y="2161"/>
                </a:lnTo>
                <a:lnTo>
                  <a:pt x="995" y="2162"/>
                </a:lnTo>
                <a:lnTo>
                  <a:pt x="1015" y="2164"/>
                </a:lnTo>
                <a:lnTo>
                  <a:pt x="1036" y="2164"/>
                </a:lnTo>
                <a:lnTo>
                  <a:pt x="1055" y="2164"/>
                </a:lnTo>
                <a:close/>
                <a:moveTo>
                  <a:pt x="0" y="0"/>
                </a:moveTo>
                <a:lnTo>
                  <a:pt x="702" y="0"/>
                </a:lnTo>
                <a:lnTo>
                  <a:pt x="1403" y="0"/>
                </a:lnTo>
                <a:lnTo>
                  <a:pt x="2105" y="0"/>
                </a:lnTo>
                <a:lnTo>
                  <a:pt x="2806" y="0"/>
                </a:lnTo>
                <a:lnTo>
                  <a:pt x="2806" y="701"/>
                </a:lnTo>
                <a:lnTo>
                  <a:pt x="2806" y="1403"/>
                </a:lnTo>
                <a:lnTo>
                  <a:pt x="2806" y="2104"/>
                </a:lnTo>
                <a:lnTo>
                  <a:pt x="2806" y="2806"/>
                </a:lnTo>
                <a:lnTo>
                  <a:pt x="2105" y="2806"/>
                </a:lnTo>
                <a:lnTo>
                  <a:pt x="1403" y="2806"/>
                </a:lnTo>
                <a:lnTo>
                  <a:pt x="702" y="2806"/>
                </a:lnTo>
                <a:lnTo>
                  <a:pt x="0" y="2806"/>
                </a:lnTo>
                <a:lnTo>
                  <a:pt x="0" y="2104"/>
                </a:lnTo>
                <a:lnTo>
                  <a:pt x="0" y="1403"/>
                </a:lnTo>
                <a:lnTo>
                  <a:pt x="0" y="701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0201" tIns="40100" rIns="80201" bIns="40100" numCol="1" anchor="t" anchorCtr="0" compatLnSpc="1">
            <a:prstTxWarp prst="textNoShape">
              <a:avLst/>
            </a:prstTxWarp>
          </a:bodyPr>
          <a:lstStyle/>
          <a:p>
            <a:endParaRPr lang="en-GB" sz="1579"/>
          </a:p>
        </p:txBody>
      </p:sp>
      <p:sp>
        <p:nvSpPr>
          <p:cNvPr id="8" name="Freeform 8">
            <a:hlinkClick r:id="rId3" tooltip="Facebook"/>
          </p:cNvPr>
          <p:cNvSpPr>
            <a:spLocks noChangeAspect="1" noEditPoints="1"/>
          </p:cNvSpPr>
          <p:nvPr/>
        </p:nvSpPr>
        <p:spPr bwMode="auto">
          <a:xfrm>
            <a:off x="4588387" y="684481"/>
            <a:ext cx="253051" cy="317600"/>
          </a:xfrm>
          <a:custGeom>
            <a:avLst/>
            <a:gdLst>
              <a:gd name="T0" fmla="*/ 1541 w 2807"/>
              <a:gd name="T1" fmla="*/ 2287 h 2806"/>
              <a:gd name="T2" fmla="*/ 1541 w 2807"/>
              <a:gd name="T3" fmla="*/ 1481 h 2806"/>
              <a:gd name="T4" fmla="*/ 1812 w 2807"/>
              <a:gd name="T5" fmla="*/ 1481 h 2806"/>
              <a:gd name="T6" fmla="*/ 1853 w 2807"/>
              <a:gd name="T7" fmla="*/ 1166 h 2806"/>
              <a:gd name="T8" fmla="*/ 1541 w 2807"/>
              <a:gd name="T9" fmla="*/ 1166 h 2806"/>
              <a:gd name="T10" fmla="*/ 1541 w 2807"/>
              <a:gd name="T11" fmla="*/ 965 h 2806"/>
              <a:gd name="T12" fmla="*/ 1542 w 2807"/>
              <a:gd name="T13" fmla="*/ 933 h 2806"/>
              <a:gd name="T14" fmla="*/ 1547 w 2807"/>
              <a:gd name="T15" fmla="*/ 903 h 2806"/>
              <a:gd name="T16" fmla="*/ 1556 w 2807"/>
              <a:gd name="T17" fmla="*/ 877 h 2806"/>
              <a:gd name="T18" fmla="*/ 1569 w 2807"/>
              <a:gd name="T19" fmla="*/ 855 h 2806"/>
              <a:gd name="T20" fmla="*/ 1590 w 2807"/>
              <a:gd name="T21" fmla="*/ 837 h 2806"/>
              <a:gd name="T22" fmla="*/ 1618 w 2807"/>
              <a:gd name="T23" fmla="*/ 824 h 2806"/>
              <a:gd name="T24" fmla="*/ 1652 w 2807"/>
              <a:gd name="T25" fmla="*/ 815 h 2806"/>
              <a:gd name="T26" fmla="*/ 1673 w 2807"/>
              <a:gd name="T27" fmla="*/ 813 h 2806"/>
              <a:gd name="T28" fmla="*/ 1697 w 2807"/>
              <a:gd name="T29" fmla="*/ 813 h 2806"/>
              <a:gd name="T30" fmla="*/ 1862 w 2807"/>
              <a:gd name="T31" fmla="*/ 813 h 2806"/>
              <a:gd name="T32" fmla="*/ 1862 w 2807"/>
              <a:gd name="T33" fmla="*/ 530 h 2806"/>
              <a:gd name="T34" fmla="*/ 1773 w 2807"/>
              <a:gd name="T35" fmla="*/ 523 h 2806"/>
              <a:gd name="T36" fmla="*/ 1703 w 2807"/>
              <a:gd name="T37" fmla="*/ 521 h 2806"/>
              <a:gd name="T38" fmla="*/ 1620 w 2807"/>
              <a:gd name="T39" fmla="*/ 518 h 2806"/>
              <a:gd name="T40" fmla="*/ 1577 w 2807"/>
              <a:gd name="T41" fmla="*/ 521 h 2806"/>
              <a:gd name="T42" fmla="*/ 1535 w 2807"/>
              <a:gd name="T43" fmla="*/ 526 h 2806"/>
              <a:gd name="T44" fmla="*/ 1494 w 2807"/>
              <a:gd name="T45" fmla="*/ 534 h 2806"/>
              <a:gd name="T46" fmla="*/ 1455 w 2807"/>
              <a:gd name="T47" fmla="*/ 545 h 2806"/>
              <a:gd name="T48" fmla="*/ 1420 w 2807"/>
              <a:gd name="T49" fmla="*/ 560 h 2806"/>
              <a:gd name="T50" fmla="*/ 1387 w 2807"/>
              <a:gd name="T51" fmla="*/ 579 h 2806"/>
              <a:gd name="T52" fmla="*/ 1356 w 2807"/>
              <a:gd name="T53" fmla="*/ 601 h 2806"/>
              <a:gd name="T54" fmla="*/ 1328 w 2807"/>
              <a:gd name="T55" fmla="*/ 626 h 2806"/>
              <a:gd name="T56" fmla="*/ 1303 w 2807"/>
              <a:gd name="T57" fmla="*/ 653 h 2806"/>
              <a:gd name="T58" fmla="*/ 1281 w 2807"/>
              <a:gd name="T59" fmla="*/ 684 h 2806"/>
              <a:gd name="T60" fmla="*/ 1261 w 2807"/>
              <a:gd name="T61" fmla="*/ 719 h 2806"/>
              <a:gd name="T62" fmla="*/ 1245 w 2807"/>
              <a:gd name="T63" fmla="*/ 756 h 2806"/>
              <a:gd name="T64" fmla="*/ 1233 w 2807"/>
              <a:gd name="T65" fmla="*/ 796 h 2806"/>
              <a:gd name="T66" fmla="*/ 1224 w 2807"/>
              <a:gd name="T67" fmla="*/ 839 h 2806"/>
              <a:gd name="T68" fmla="*/ 1218 w 2807"/>
              <a:gd name="T69" fmla="*/ 886 h 2806"/>
              <a:gd name="T70" fmla="*/ 1215 w 2807"/>
              <a:gd name="T71" fmla="*/ 934 h 2806"/>
              <a:gd name="T72" fmla="*/ 1215 w 2807"/>
              <a:gd name="T73" fmla="*/ 1166 h 2806"/>
              <a:gd name="T74" fmla="*/ 944 w 2807"/>
              <a:gd name="T75" fmla="*/ 1166 h 2806"/>
              <a:gd name="T76" fmla="*/ 944 w 2807"/>
              <a:gd name="T77" fmla="*/ 1481 h 2806"/>
              <a:gd name="T78" fmla="*/ 1215 w 2807"/>
              <a:gd name="T79" fmla="*/ 1481 h 2806"/>
              <a:gd name="T80" fmla="*/ 1215 w 2807"/>
              <a:gd name="T81" fmla="*/ 2287 h 2806"/>
              <a:gd name="T82" fmla="*/ 1541 w 2807"/>
              <a:gd name="T83" fmla="*/ 2287 h 2806"/>
              <a:gd name="T84" fmla="*/ 0 w 2807"/>
              <a:gd name="T85" fmla="*/ 0 h 2806"/>
              <a:gd name="T86" fmla="*/ 702 w 2807"/>
              <a:gd name="T87" fmla="*/ 0 h 2806"/>
              <a:gd name="T88" fmla="*/ 1403 w 2807"/>
              <a:gd name="T89" fmla="*/ 0 h 2806"/>
              <a:gd name="T90" fmla="*/ 2105 w 2807"/>
              <a:gd name="T91" fmla="*/ 0 h 2806"/>
              <a:gd name="T92" fmla="*/ 2807 w 2807"/>
              <a:gd name="T93" fmla="*/ 0 h 2806"/>
              <a:gd name="T94" fmla="*/ 2807 w 2807"/>
              <a:gd name="T95" fmla="*/ 701 h 2806"/>
              <a:gd name="T96" fmla="*/ 2807 w 2807"/>
              <a:gd name="T97" fmla="*/ 1403 h 2806"/>
              <a:gd name="T98" fmla="*/ 2807 w 2807"/>
              <a:gd name="T99" fmla="*/ 2104 h 2806"/>
              <a:gd name="T100" fmla="*/ 2807 w 2807"/>
              <a:gd name="T101" fmla="*/ 2806 h 2806"/>
              <a:gd name="T102" fmla="*/ 2105 w 2807"/>
              <a:gd name="T103" fmla="*/ 2806 h 2806"/>
              <a:gd name="T104" fmla="*/ 1403 w 2807"/>
              <a:gd name="T105" fmla="*/ 2806 h 2806"/>
              <a:gd name="T106" fmla="*/ 702 w 2807"/>
              <a:gd name="T107" fmla="*/ 2806 h 2806"/>
              <a:gd name="T108" fmla="*/ 0 w 2807"/>
              <a:gd name="T109" fmla="*/ 2806 h 2806"/>
              <a:gd name="T110" fmla="*/ 0 w 2807"/>
              <a:gd name="T111" fmla="*/ 2104 h 2806"/>
              <a:gd name="T112" fmla="*/ 0 w 2807"/>
              <a:gd name="T113" fmla="*/ 1403 h 2806"/>
              <a:gd name="T114" fmla="*/ 0 w 2807"/>
              <a:gd name="T115" fmla="*/ 701 h 2806"/>
              <a:gd name="T116" fmla="*/ 0 w 2807"/>
              <a:gd name="T117" fmla="*/ 0 h 28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807" h="2806">
                <a:moveTo>
                  <a:pt x="1541" y="2287"/>
                </a:moveTo>
                <a:lnTo>
                  <a:pt x="1541" y="1481"/>
                </a:lnTo>
                <a:lnTo>
                  <a:pt x="1812" y="1481"/>
                </a:lnTo>
                <a:lnTo>
                  <a:pt x="1853" y="1166"/>
                </a:lnTo>
                <a:lnTo>
                  <a:pt x="1541" y="1166"/>
                </a:lnTo>
                <a:lnTo>
                  <a:pt x="1541" y="965"/>
                </a:lnTo>
                <a:lnTo>
                  <a:pt x="1542" y="933"/>
                </a:lnTo>
                <a:lnTo>
                  <a:pt x="1547" y="903"/>
                </a:lnTo>
                <a:lnTo>
                  <a:pt x="1556" y="877"/>
                </a:lnTo>
                <a:lnTo>
                  <a:pt x="1569" y="855"/>
                </a:lnTo>
                <a:lnTo>
                  <a:pt x="1590" y="837"/>
                </a:lnTo>
                <a:lnTo>
                  <a:pt x="1618" y="824"/>
                </a:lnTo>
                <a:lnTo>
                  <a:pt x="1652" y="815"/>
                </a:lnTo>
                <a:lnTo>
                  <a:pt x="1673" y="813"/>
                </a:lnTo>
                <a:lnTo>
                  <a:pt x="1697" y="813"/>
                </a:lnTo>
                <a:lnTo>
                  <a:pt x="1862" y="813"/>
                </a:lnTo>
                <a:lnTo>
                  <a:pt x="1862" y="530"/>
                </a:lnTo>
                <a:lnTo>
                  <a:pt x="1773" y="523"/>
                </a:lnTo>
                <a:lnTo>
                  <a:pt x="1703" y="521"/>
                </a:lnTo>
                <a:lnTo>
                  <a:pt x="1620" y="518"/>
                </a:lnTo>
                <a:lnTo>
                  <a:pt x="1577" y="521"/>
                </a:lnTo>
                <a:lnTo>
                  <a:pt x="1535" y="526"/>
                </a:lnTo>
                <a:lnTo>
                  <a:pt x="1494" y="534"/>
                </a:lnTo>
                <a:lnTo>
                  <a:pt x="1455" y="545"/>
                </a:lnTo>
                <a:lnTo>
                  <a:pt x="1420" y="560"/>
                </a:lnTo>
                <a:lnTo>
                  <a:pt x="1387" y="579"/>
                </a:lnTo>
                <a:lnTo>
                  <a:pt x="1356" y="601"/>
                </a:lnTo>
                <a:lnTo>
                  <a:pt x="1328" y="626"/>
                </a:lnTo>
                <a:lnTo>
                  <a:pt x="1303" y="653"/>
                </a:lnTo>
                <a:lnTo>
                  <a:pt x="1281" y="684"/>
                </a:lnTo>
                <a:lnTo>
                  <a:pt x="1261" y="719"/>
                </a:lnTo>
                <a:lnTo>
                  <a:pt x="1245" y="756"/>
                </a:lnTo>
                <a:lnTo>
                  <a:pt x="1233" y="796"/>
                </a:lnTo>
                <a:lnTo>
                  <a:pt x="1224" y="839"/>
                </a:lnTo>
                <a:lnTo>
                  <a:pt x="1218" y="886"/>
                </a:lnTo>
                <a:lnTo>
                  <a:pt x="1215" y="934"/>
                </a:lnTo>
                <a:lnTo>
                  <a:pt x="1215" y="1166"/>
                </a:lnTo>
                <a:lnTo>
                  <a:pt x="944" y="1166"/>
                </a:lnTo>
                <a:lnTo>
                  <a:pt x="944" y="1481"/>
                </a:lnTo>
                <a:lnTo>
                  <a:pt x="1215" y="1481"/>
                </a:lnTo>
                <a:lnTo>
                  <a:pt x="1215" y="2287"/>
                </a:lnTo>
                <a:lnTo>
                  <a:pt x="1541" y="2287"/>
                </a:lnTo>
                <a:close/>
                <a:moveTo>
                  <a:pt x="0" y="0"/>
                </a:moveTo>
                <a:lnTo>
                  <a:pt x="702" y="0"/>
                </a:lnTo>
                <a:lnTo>
                  <a:pt x="1403" y="0"/>
                </a:lnTo>
                <a:lnTo>
                  <a:pt x="2105" y="0"/>
                </a:lnTo>
                <a:lnTo>
                  <a:pt x="2807" y="0"/>
                </a:lnTo>
                <a:lnTo>
                  <a:pt x="2807" y="701"/>
                </a:lnTo>
                <a:lnTo>
                  <a:pt x="2807" y="1403"/>
                </a:lnTo>
                <a:lnTo>
                  <a:pt x="2807" y="2104"/>
                </a:lnTo>
                <a:lnTo>
                  <a:pt x="2807" y="2806"/>
                </a:lnTo>
                <a:lnTo>
                  <a:pt x="2105" y="2806"/>
                </a:lnTo>
                <a:lnTo>
                  <a:pt x="1403" y="2806"/>
                </a:lnTo>
                <a:lnTo>
                  <a:pt x="702" y="2806"/>
                </a:lnTo>
                <a:lnTo>
                  <a:pt x="0" y="2806"/>
                </a:lnTo>
                <a:lnTo>
                  <a:pt x="0" y="2104"/>
                </a:lnTo>
                <a:lnTo>
                  <a:pt x="0" y="1403"/>
                </a:lnTo>
                <a:lnTo>
                  <a:pt x="0" y="701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0201" tIns="40100" rIns="80201" bIns="40100" numCol="1" anchor="t" anchorCtr="0" compatLnSpc="1">
            <a:prstTxWarp prst="textNoShape">
              <a:avLst/>
            </a:prstTxWarp>
          </a:bodyPr>
          <a:lstStyle/>
          <a:p>
            <a:endParaRPr lang="en-GB" sz="1579"/>
          </a:p>
        </p:txBody>
      </p:sp>
      <p:sp>
        <p:nvSpPr>
          <p:cNvPr id="9" name="Freeform 10">
            <a:hlinkClick r:id="rId4" tooltip="YouTube"/>
          </p:cNvPr>
          <p:cNvSpPr>
            <a:spLocks noChangeAspect="1" noEditPoints="1"/>
          </p:cNvSpPr>
          <p:nvPr/>
        </p:nvSpPr>
        <p:spPr bwMode="auto">
          <a:xfrm>
            <a:off x="5536199" y="684481"/>
            <a:ext cx="252600" cy="317600"/>
          </a:xfrm>
          <a:custGeom>
            <a:avLst/>
            <a:gdLst>
              <a:gd name="T0" fmla="*/ 793 w 2804"/>
              <a:gd name="T1" fmla="*/ 1276 h 2806"/>
              <a:gd name="T2" fmla="*/ 704 w 2804"/>
              <a:gd name="T3" fmla="*/ 1239 h 2806"/>
              <a:gd name="T4" fmla="*/ 605 w 2804"/>
              <a:gd name="T5" fmla="*/ 1291 h 2806"/>
              <a:gd name="T6" fmla="*/ 587 w 2804"/>
              <a:gd name="T7" fmla="*/ 1595 h 2806"/>
              <a:gd name="T8" fmla="*/ 645 w 2804"/>
              <a:gd name="T9" fmla="*/ 1683 h 2806"/>
              <a:gd name="T10" fmla="*/ 749 w 2804"/>
              <a:gd name="T11" fmla="*/ 1688 h 2806"/>
              <a:gd name="T12" fmla="*/ 814 w 2804"/>
              <a:gd name="T13" fmla="*/ 1621 h 2806"/>
              <a:gd name="T14" fmla="*/ 738 w 2804"/>
              <a:gd name="T15" fmla="*/ 1591 h 2806"/>
              <a:gd name="T16" fmla="*/ 704 w 2804"/>
              <a:gd name="T17" fmla="*/ 1623 h 2806"/>
              <a:gd name="T18" fmla="*/ 668 w 2804"/>
              <a:gd name="T19" fmla="*/ 1579 h 2806"/>
              <a:gd name="T20" fmla="*/ 676 w 2804"/>
              <a:gd name="T21" fmla="*/ 1326 h 2806"/>
              <a:gd name="T22" fmla="*/ 725 w 2804"/>
              <a:gd name="T23" fmla="*/ 1320 h 2806"/>
              <a:gd name="T24" fmla="*/ 491 w 2804"/>
              <a:gd name="T25" fmla="*/ 1690 h 2806"/>
              <a:gd name="T26" fmla="*/ 491 w 2804"/>
              <a:gd name="T27" fmla="*/ 1447 h 2806"/>
              <a:gd name="T28" fmla="*/ 959 w 2804"/>
              <a:gd name="T29" fmla="*/ 1695 h 2806"/>
              <a:gd name="T30" fmla="*/ 894 w 2804"/>
              <a:gd name="T31" fmla="*/ 1662 h 2806"/>
              <a:gd name="T32" fmla="*/ 972 w 2804"/>
              <a:gd name="T33" fmla="*/ 1614 h 2806"/>
              <a:gd name="T34" fmla="*/ 1017 w 2804"/>
              <a:gd name="T35" fmla="*/ 1607 h 2806"/>
              <a:gd name="T36" fmla="*/ 1956 w 2804"/>
              <a:gd name="T37" fmla="*/ 1325 h 2806"/>
              <a:gd name="T38" fmla="*/ 1995 w 2804"/>
              <a:gd name="T39" fmla="*/ 1622 h 2806"/>
              <a:gd name="T40" fmla="*/ 2020 w 2804"/>
              <a:gd name="T41" fmla="*/ 1371 h 2806"/>
              <a:gd name="T42" fmla="*/ 1987 w 2804"/>
              <a:gd name="T43" fmla="*/ 1313 h 2806"/>
              <a:gd name="T44" fmla="*/ 2293 w 2804"/>
              <a:gd name="T45" fmla="*/ 1314 h 2806"/>
              <a:gd name="T46" fmla="*/ 2246 w 2804"/>
              <a:gd name="T47" fmla="*/ 1331 h 2806"/>
              <a:gd name="T48" fmla="*/ 2488 w 2804"/>
              <a:gd name="T49" fmla="*/ 1089 h 2806"/>
              <a:gd name="T50" fmla="*/ 2427 w 2804"/>
              <a:gd name="T51" fmla="*/ 991 h 2806"/>
              <a:gd name="T52" fmla="*/ 2315 w 2804"/>
              <a:gd name="T53" fmla="*/ 953 h 2806"/>
              <a:gd name="T54" fmla="*/ 1461 w 2804"/>
              <a:gd name="T55" fmla="*/ 948 h 2806"/>
              <a:gd name="T56" fmla="*/ 1274 w 2804"/>
              <a:gd name="T57" fmla="*/ 991 h 2806"/>
              <a:gd name="T58" fmla="*/ 1205 w 2804"/>
              <a:gd name="T59" fmla="*/ 1125 h 2806"/>
              <a:gd name="T60" fmla="*/ 1192 w 2804"/>
              <a:gd name="T61" fmla="*/ 1568 h 2806"/>
              <a:gd name="T62" fmla="*/ 1229 w 2804"/>
              <a:gd name="T63" fmla="*/ 1760 h 2806"/>
              <a:gd name="T64" fmla="*/ 1336 w 2804"/>
              <a:gd name="T65" fmla="*/ 1842 h 2806"/>
              <a:gd name="T66" fmla="*/ 1851 w 2804"/>
              <a:gd name="T67" fmla="*/ 1867 h 2806"/>
              <a:gd name="T68" fmla="*/ 2371 w 2804"/>
              <a:gd name="T69" fmla="*/ 1844 h 2806"/>
              <a:gd name="T70" fmla="*/ 2472 w 2804"/>
              <a:gd name="T71" fmla="*/ 1760 h 2806"/>
              <a:gd name="T72" fmla="*/ 2512 w 2804"/>
              <a:gd name="T73" fmla="*/ 1492 h 2806"/>
              <a:gd name="T74" fmla="*/ 1390 w 2804"/>
              <a:gd name="T75" fmla="*/ 1690 h 2806"/>
              <a:gd name="T76" fmla="*/ 1702 w 2804"/>
              <a:gd name="T77" fmla="*/ 1654 h 2806"/>
              <a:gd name="T78" fmla="*/ 1604 w 2804"/>
              <a:gd name="T79" fmla="*/ 1693 h 2806"/>
              <a:gd name="T80" fmla="*/ 1565 w 2804"/>
              <a:gd name="T81" fmla="*/ 1627 h 2806"/>
              <a:gd name="T82" fmla="*/ 1659 w 2804"/>
              <a:gd name="T83" fmla="*/ 1622 h 2806"/>
              <a:gd name="T84" fmla="*/ 1799 w 2804"/>
              <a:gd name="T85" fmla="*/ 1246 h 2806"/>
              <a:gd name="T86" fmla="*/ 2086 w 2804"/>
              <a:gd name="T87" fmla="*/ 1667 h 2806"/>
              <a:gd name="T88" fmla="*/ 2003 w 2804"/>
              <a:gd name="T89" fmla="*/ 1690 h 2806"/>
              <a:gd name="T90" fmla="*/ 1945 w 2804"/>
              <a:gd name="T91" fmla="*/ 1095 h 2806"/>
              <a:gd name="T92" fmla="*/ 2030 w 2804"/>
              <a:gd name="T93" fmla="*/ 1240 h 2806"/>
              <a:gd name="T94" fmla="*/ 2089 w 2804"/>
              <a:gd name="T95" fmla="*/ 1279 h 2806"/>
              <a:gd name="T96" fmla="*/ 2295 w 2804"/>
              <a:gd name="T97" fmla="*/ 1621 h 2806"/>
              <a:gd name="T98" fmla="*/ 2401 w 2804"/>
              <a:gd name="T99" fmla="*/ 1534 h 2806"/>
              <a:gd name="T100" fmla="*/ 2371 w 2804"/>
              <a:gd name="T101" fmla="*/ 1659 h 2806"/>
              <a:gd name="T102" fmla="*/ 2284 w 2804"/>
              <a:gd name="T103" fmla="*/ 1695 h 2806"/>
              <a:gd name="T104" fmla="*/ 2180 w 2804"/>
              <a:gd name="T105" fmla="*/ 1641 h 2806"/>
              <a:gd name="T106" fmla="*/ 2160 w 2804"/>
              <a:gd name="T107" fmla="*/ 1359 h 2806"/>
              <a:gd name="T108" fmla="*/ 2227 w 2804"/>
              <a:gd name="T109" fmla="*/ 1252 h 2806"/>
              <a:gd name="T110" fmla="*/ 2323 w 2804"/>
              <a:gd name="T111" fmla="*/ 1246 h 2806"/>
              <a:gd name="T112" fmla="*/ 2386 w 2804"/>
              <a:gd name="T113" fmla="*/ 1305 h 2806"/>
              <a:gd name="T114" fmla="*/ 2243 w 2804"/>
              <a:gd name="T115" fmla="*/ 1575 h 2806"/>
              <a:gd name="T116" fmla="*/ 0 w 2804"/>
              <a:gd name="T117" fmla="*/ 0 h 2806"/>
              <a:gd name="T118" fmla="*/ 700 w 2804"/>
              <a:gd name="T119" fmla="*/ 2806 h 28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804" h="2806">
                <a:moveTo>
                  <a:pt x="824" y="1388"/>
                </a:moveTo>
                <a:lnTo>
                  <a:pt x="822" y="1371"/>
                </a:lnTo>
                <a:lnTo>
                  <a:pt x="821" y="1355"/>
                </a:lnTo>
                <a:lnTo>
                  <a:pt x="819" y="1340"/>
                </a:lnTo>
                <a:lnTo>
                  <a:pt x="816" y="1325"/>
                </a:lnTo>
                <a:lnTo>
                  <a:pt x="813" y="1313"/>
                </a:lnTo>
                <a:lnTo>
                  <a:pt x="810" y="1307"/>
                </a:lnTo>
                <a:lnTo>
                  <a:pt x="808" y="1302"/>
                </a:lnTo>
                <a:lnTo>
                  <a:pt x="803" y="1291"/>
                </a:lnTo>
                <a:lnTo>
                  <a:pt x="796" y="1282"/>
                </a:lnTo>
                <a:lnTo>
                  <a:pt x="793" y="1276"/>
                </a:lnTo>
                <a:lnTo>
                  <a:pt x="788" y="1271"/>
                </a:lnTo>
                <a:lnTo>
                  <a:pt x="783" y="1267"/>
                </a:lnTo>
                <a:lnTo>
                  <a:pt x="778" y="1262"/>
                </a:lnTo>
                <a:lnTo>
                  <a:pt x="772" y="1258"/>
                </a:lnTo>
                <a:lnTo>
                  <a:pt x="767" y="1255"/>
                </a:lnTo>
                <a:lnTo>
                  <a:pt x="761" y="1251"/>
                </a:lnTo>
                <a:lnTo>
                  <a:pt x="754" y="1249"/>
                </a:lnTo>
                <a:lnTo>
                  <a:pt x="743" y="1245"/>
                </a:lnTo>
                <a:lnTo>
                  <a:pt x="730" y="1241"/>
                </a:lnTo>
                <a:lnTo>
                  <a:pt x="717" y="1240"/>
                </a:lnTo>
                <a:lnTo>
                  <a:pt x="704" y="1239"/>
                </a:lnTo>
                <a:lnTo>
                  <a:pt x="689" y="1240"/>
                </a:lnTo>
                <a:lnTo>
                  <a:pt x="681" y="1240"/>
                </a:lnTo>
                <a:lnTo>
                  <a:pt x="675" y="1241"/>
                </a:lnTo>
                <a:lnTo>
                  <a:pt x="663" y="1245"/>
                </a:lnTo>
                <a:lnTo>
                  <a:pt x="650" y="1249"/>
                </a:lnTo>
                <a:lnTo>
                  <a:pt x="639" y="1255"/>
                </a:lnTo>
                <a:lnTo>
                  <a:pt x="634" y="1258"/>
                </a:lnTo>
                <a:lnTo>
                  <a:pt x="628" y="1262"/>
                </a:lnTo>
                <a:lnTo>
                  <a:pt x="619" y="1271"/>
                </a:lnTo>
                <a:lnTo>
                  <a:pt x="611" y="1282"/>
                </a:lnTo>
                <a:lnTo>
                  <a:pt x="605" y="1291"/>
                </a:lnTo>
                <a:lnTo>
                  <a:pt x="598" y="1302"/>
                </a:lnTo>
                <a:lnTo>
                  <a:pt x="595" y="1313"/>
                </a:lnTo>
                <a:lnTo>
                  <a:pt x="591" y="1325"/>
                </a:lnTo>
                <a:lnTo>
                  <a:pt x="587" y="1340"/>
                </a:lnTo>
                <a:lnTo>
                  <a:pt x="586" y="1355"/>
                </a:lnTo>
                <a:lnTo>
                  <a:pt x="585" y="1371"/>
                </a:lnTo>
                <a:lnTo>
                  <a:pt x="584" y="1388"/>
                </a:lnTo>
                <a:lnTo>
                  <a:pt x="584" y="1548"/>
                </a:lnTo>
                <a:lnTo>
                  <a:pt x="584" y="1565"/>
                </a:lnTo>
                <a:lnTo>
                  <a:pt x="585" y="1581"/>
                </a:lnTo>
                <a:lnTo>
                  <a:pt x="587" y="1595"/>
                </a:lnTo>
                <a:lnTo>
                  <a:pt x="590" y="1609"/>
                </a:lnTo>
                <a:lnTo>
                  <a:pt x="592" y="1615"/>
                </a:lnTo>
                <a:lnTo>
                  <a:pt x="594" y="1621"/>
                </a:lnTo>
                <a:lnTo>
                  <a:pt x="598" y="1632"/>
                </a:lnTo>
                <a:lnTo>
                  <a:pt x="603" y="1642"/>
                </a:lnTo>
                <a:lnTo>
                  <a:pt x="610" y="1651"/>
                </a:lnTo>
                <a:lnTo>
                  <a:pt x="618" y="1662"/>
                </a:lnTo>
                <a:lnTo>
                  <a:pt x="623" y="1667"/>
                </a:lnTo>
                <a:lnTo>
                  <a:pt x="628" y="1670"/>
                </a:lnTo>
                <a:lnTo>
                  <a:pt x="639" y="1679"/>
                </a:lnTo>
                <a:lnTo>
                  <a:pt x="645" y="1683"/>
                </a:lnTo>
                <a:lnTo>
                  <a:pt x="652" y="1685"/>
                </a:lnTo>
                <a:lnTo>
                  <a:pt x="664" y="1690"/>
                </a:lnTo>
                <a:lnTo>
                  <a:pt x="676" y="1694"/>
                </a:lnTo>
                <a:lnTo>
                  <a:pt x="684" y="1695"/>
                </a:lnTo>
                <a:lnTo>
                  <a:pt x="690" y="1696"/>
                </a:lnTo>
                <a:lnTo>
                  <a:pt x="696" y="1698"/>
                </a:lnTo>
                <a:lnTo>
                  <a:pt x="704" y="1698"/>
                </a:lnTo>
                <a:lnTo>
                  <a:pt x="717" y="1696"/>
                </a:lnTo>
                <a:lnTo>
                  <a:pt x="730" y="1694"/>
                </a:lnTo>
                <a:lnTo>
                  <a:pt x="743" y="1690"/>
                </a:lnTo>
                <a:lnTo>
                  <a:pt x="749" y="1688"/>
                </a:lnTo>
                <a:lnTo>
                  <a:pt x="756" y="1685"/>
                </a:lnTo>
                <a:lnTo>
                  <a:pt x="768" y="1679"/>
                </a:lnTo>
                <a:lnTo>
                  <a:pt x="774" y="1675"/>
                </a:lnTo>
                <a:lnTo>
                  <a:pt x="779" y="1670"/>
                </a:lnTo>
                <a:lnTo>
                  <a:pt x="784" y="1667"/>
                </a:lnTo>
                <a:lnTo>
                  <a:pt x="789" y="1662"/>
                </a:lnTo>
                <a:lnTo>
                  <a:pt x="794" y="1657"/>
                </a:lnTo>
                <a:lnTo>
                  <a:pt x="799" y="1651"/>
                </a:lnTo>
                <a:lnTo>
                  <a:pt x="804" y="1642"/>
                </a:lnTo>
                <a:lnTo>
                  <a:pt x="810" y="1632"/>
                </a:lnTo>
                <a:lnTo>
                  <a:pt x="814" y="1621"/>
                </a:lnTo>
                <a:lnTo>
                  <a:pt x="817" y="1609"/>
                </a:lnTo>
                <a:lnTo>
                  <a:pt x="820" y="1595"/>
                </a:lnTo>
                <a:lnTo>
                  <a:pt x="821" y="1581"/>
                </a:lnTo>
                <a:lnTo>
                  <a:pt x="822" y="1565"/>
                </a:lnTo>
                <a:lnTo>
                  <a:pt x="824" y="1548"/>
                </a:lnTo>
                <a:lnTo>
                  <a:pt x="824" y="1388"/>
                </a:lnTo>
                <a:close/>
                <a:moveTo>
                  <a:pt x="740" y="1557"/>
                </a:moveTo>
                <a:lnTo>
                  <a:pt x="740" y="1573"/>
                </a:lnTo>
                <a:lnTo>
                  <a:pt x="740" y="1579"/>
                </a:lnTo>
                <a:lnTo>
                  <a:pt x="740" y="1586"/>
                </a:lnTo>
                <a:lnTo>
                  <a:pt x="738" y="1591"/>
                </a:lnTo>
                <a:lnTo>
                  <a:pt x="737" y="1597"/>
                </a:lnTo>
                <a:lnTo>
                  <a:pt x="735" y="1602"/>
                </a:lnTo>
                <a:lnTo>
                  <a:pt x="732" y="1606"/>
                </a:lnTo>
                <a:lnTo>
                  <a:pt x="730" y="1610"/>
                </a:lnTo>
                <a:lnTo>
                  <a:pt x="727" y="1614"/>
                </a:lnTo>
                <a:lnTo>
                  <a:pt x="725" y="1617"/>
                </a:lnTo>
                <a:lnTo>
                  <a:pt x="721" y="1618"/>
                </a:lnTo>
                <a:lnTo>
                  <a:pt x="717" y="1621"/>
                </a:lnTo>
                <a:lnTo>
                  <a:pt x="712" y="1622"/>
                </a:lnTo>
                <a:lnTo>
                  <a:pt x="709" y="1623"/>
                </a:lnTo>
                <a:lnTo>
                  <a:pt x="704" y="1623"/>
                </a:lnTo>
                <a:lnTo>
                  <a:pt x="699" y="1623"/>
                </a:lnTo>
                <a:lnTo>
                  <a:pt x="694" y="1622"/>
                </a:lnTo>
                <a:lnTo>
                  <a:pt x="690" y="1621"/>
                </a:lnTo>
                <a:lnTo>
                  <a:pt x="686" y="1618"/>
                </a:lnTo>
                <a:lnTo>
                  <a:pt x="683" y="1617"/>
                </a:lnTo>
                <a:lnTo>
                  <a:pt x="680" y="1614"/>
                </a:lnTo>
                <a:lnTo>
                  <a:pt x="676" y="1610"/>
                </a:lnTo>
                <a:lnTo>
                  <a:pt x="674" y="1606"/>
                </a:lnTo>
                <a:lnTo>
                  <a:pt x="670" y="1597"/>
                </a:lnTo>
                <a:lnTo>
                  <a:pt x="668" y="1586"/>
                </a:lnTo>
                <a:lnTo>
                  <a:pt x="668" y="1579"/>
                </a:lnTo>
                <a:lnTo>
                  <a:pt x="668" y="1573"/>
                </a:lnTo>
                <a:lnTo>
                  <a:pt x="668" y="1557"/>
                </a:lnTo>
                <a:lnTo>
                  <a:pt x="668" y="1380"/>
                </a:lnTo>
                <a:lnTo>
                  <a:pt x="668" y="1364"/>
                </a:lnTo>
                <a:lnTo>
                  <a:pt x="668" y="1357"/>
                </a:lnTo>
                <a:lnTo>
                  <a:pt x="668" y="1350"/>
                </a:lnTo>
                <a:lnTo>
                  <a:pt x="669" y="1345"/>
                </a:lnTo>
                <a:lnTo>
                  <a:pt x="670" y="1339"/>
                </a:lnTo>
                <a:lnTo>
                  <a:pt x="673" y="1334"/>
                </a:lnTo>
                <a:lnTo>
                  <a:pt x="674" y="1330"/>
                </a:lnTo>
                <a:lnTo>
                  <a:pt x="676" y="1326"/>
                </a:lnTo>
                <a:lnTo>
                  <a:pt x="680" y="1323"/>
                </a:lnTo>
                <a:lnTo>
                  <a:pt x="683" y="1320"/>
                </a:lnTo>
                <a:lnTo>
                  <a:pt x="686" y="1318"/>
                </a:lnTo>
                <a:lnTo>
                  <a:pt x="694" y="1315"/>
                </a:lnTo>
                <a:lnTo>
                  <a:pt x="699" y="1314"/>
                </a:lnTo>
                <a:lnTo>
                  <a:pt x="704" y="1314"/>
                </a:lnTo>
                <a:lnTo>
                  <a:pt x="709" y="1314"/>
                </a:lnTo>
                <a:lnTo>
                  <a:pt x="712" y="1315"/>
                </a:lnTo>
                <a:lnTo>
                  <a:pt x="717" y="1317"/>
                </a:lnTo>
                <a:lnTo>
                  <a:pt x="721" y="1318"/>
                </a:lnTo>
                <a:lnTo>
                  <a:pt x="725" y="1320"/>
                </a:lnTo>
                <a:lnTo>
                  <a:pt x="727" y="1323"/>
                </a:lnTo>
                <a:lnTo>
                  <a:pt x="730" y="1326"/>
                </a:lnTo>
                <a:lnTo>
                  <a:pt x="733" y="1330"/>
                </a:lnTo>
                <a:lnTo>
                  <a:pt x="737" y="1339"/>
                </a:lnTo>
                <a:lnTo>
                  <a:pt x="740" y="1350"/>
                </a:lnTo>
                <a:lnTo>
                  <a:pt x="740" y="1357"/>
                </a:lnTo>
                <a:lnTo>
                  <a:pt x="740" y="1364"/>
                </a:lnTo>
                <a:lnTo>
                  <a:pt x="740" y="1380"/>
                </a:lnTo>
                <a:lnTo>
                  <a:pt x="740" y="1557"/>
                </a:lnTo>
                <a:close/>
                <a:moveTo>
                  <a:pt x="491" y="1447"/>
                </a:moveTo>
                <a:lnTo>
                  <a:pt x="491" y="1690"/>
                </a:lnTo>
                <a:lnTo>
                  <a:pt x="402" y="1690"/>
                </a:lnTo>
                <a:lnTo>
                  <a:pt x="402" y="1447"/>
                </a:lnTo>
                <a:lnTo>
                  <a:pt x="353" y="1289"/>
                </a:lnTo>
                <a:lnTo>
                  <a:pt x="316" y="1171"/>
                </a:lnTo>
                <a:lnTo>
                  <a:pt x="302" y="1122"/>
                </a:lnTo>
                <a:lnTo>
                  <a:pt x="292" y="1091"/>
                </a:lnTo>
                <a:lnTo>
                  <a:pt x="384" y="1091"/>
                </a:lnTo>
                <a:lnTo>
                  <a:pt x="446" y="1325"/>
                </a:lnTo>
                <a:lnTo>
                  <a:pt x="508" y="1091"/>
                </a:lnTo>
                <a:lnTo>
                  <a:pt x="601" y="1091"/>
                </a:lnTo>
                <a:lnTo>
                  <a:pt x="491" y="1447"/>
                </a:lnTo>
                <a:close/>
                <a:moveTo>
                  <a:pt x="1121" y="1690"/>
                </a:moveTo>
                <a:lnTo>
                  <a:pt x="1036" y="1690"/>
                </a:lnTo>
                <a:lnTo>
                  <a:pt x="1036" y="1641"/>
                </a:lnTo>
                <a:lnTo>
                  <a:pt x="1024" y="1654"/>
                </a:lnTo>
                <a:lnTo>
                  <a:pt x="1013" y="1666"/>
                </a:lnTo>
                <a:lnTo>
                  <a:pt x="1002" y="1674"/>
                </a:lnTo>
                <a:lnTo>
                  <a:pt x="991" y="1683"/>
                </a:lnTo>
                <a:lnTo>
                  <a:pt x="980" y="1688"/>
                </a:lnTo>
                <a:lnTo>
                  <a:pt x="970" y="1693"/>
                </a:lnTo>
                <a:lnTo>
                  <a:pt x="963" y="1694"/>
                </a:lnTo>
                <a:lnTo>
                  <a:pt x="959" y="1695"/>
                </a:lnTo>
                <a:lnTo>
                  <a:pt x="947" y="1696"/>
                </a:lnTo>
                <a:lnTo>
                  <a:pt x="939" y="1695"/>
                </a:lnTo>
                <a:lnTo>
                  <a:pt x="930" y="1694"/>
                </a:lnTo>
                <a:lnTo>
                  <a:pt x="925" y="1693"/>
                </a:lnTo>
                <a:lnTo>
                  <a:pt x="921" y="1691"/>
                </a:lnTo>
                <a:lnTo>
                  <a:pt x="915" y="1688"/>
                </a:lnTo>
                <a:lnTo>
                  <a:pt x="909" y="1683"/>
                </a:lnTo>
                <a:lnTo>
                  <a:pt x="903" y="1677"/>
                </a:lnTo>
                <a:lnTo>
                  <a:pt x="898" y="1669"/>
                </a:lnTo>
                <a:lnTo>
                  <a:pt x="897" y="1666"/>
                </a:lnTo>
                <a:lnTo>
                  <a:pt x="894" y="1662"/>
                </a:lnTo>
                <a:lnTo>
                  <a:pt x="893" y="1657"/>
                </a:lnTo>
                <a:lnTo>
                  <a:pt x="890" y="1651"/>
                </a:lnTo>
                <a:lnTo>
                  <a:pt x="888" y="1636"/>
                </a:lnTo>
                <a:lnTo>
                  <a:pt x="887" y="1627"/>
                </a:lnTo>
                <a:lnTo>
                  <a:pt x="886" y="1618"/>
                </a:lnTo>
                <a:lnTo>
                  <a:pt x="886" y="1596"/>
                </a:lnTo>
                <a:lnTo>
                  <a:pt x="886" y="1242"/>
                </a:lnTo>
                <a:lnTo>
                  <a:pt x="970" y="1242"/>
                </a:lnTo>
                <a:lnTo>
                  <a:pt x="970" y="1574"/>
                </a:lnTo>
                <a:lnTo>
                  <a:pt x="970" y="1606"/>
                </a:lnTo>
                <a:lnTo>
                  <a:pt x="972" y="1614"/>
                </a:lnTo>
                <a:lnTo>
                  <a:pt x="973" y="1616"/>
                </a:lnTo>
                <a:lnTo>
                  <a:pt x="976" y="1618"/>
                </a:lnTo>
                <a:lnTo>
                  <a:pt x="977" y="1621"/>
                </a:lnTo>
                <a:lnTo>
                  <a:pt x="981" y="1622"/>
                </a:lnTo>
                <a:lnTo>
                  <a:pt x="983" y="1622"/>
                </a:lnTo>
                <a:lnTo>
                  <a:pt x="987" y="1622"/>
                </a:lnTo>
                <a:lnTo>
                  <a:pt x="993" y="1622"/>
                </a:lnTo>
                <a:lnTo>
                  <a:pt x="999" y="1620"/>
                </a:lnTo>
                <a:lnTo>
                  <a:pt x="1006" y="1617"/>
                </a:lnTo>
                <a:lnTo>
                  <a:pt x="1012" y="1612"/>
                </a:lnTo>
                <a:lnTo>
                  <a:pt x="1017" y="1607"/>
                </a:lnTo>
                <a:lnTo>
                  <a:pt x="1023" y="1600"/>
                </a:lnTo>
                <a:lnTo>
                  <a:pt x="1036" y="1584"/>
                </a:lnTo>
                <a:lnTo>
                  <a:pt x="1036" y="1242"/>
                </a:lnTo>
                <a:lnTo>
                  <a:pt x="1121" y="1242"/>
                </a:lnTo>
                <a:lnTo>
                  <a:pt x="1121" y="1690"/>
                </a:lnTo>
                <a:close/>
                <a:moveTo>
                  <a:pt x="1987" y="1313"/>
                </a:moveTo>
                <a:lnTo>
                  <a:pt x="1982" y="1313"/>
                </a:lnTo>
                <a:lnTo>
                  <a:pt x="1977" y="1314"/>
                </a:lnTo>
                <a:lnTo>
                  <a:pt x="1966" y="1318"/>
                </a:lnTo>
                <a:lnTo>
                  <a:pt x="1961" y="1322"/>
                </a:lnTo>
                <a:lnTo>
                  <a:pt x="1956" y="1325"/>
                </a:lnTo>
                <a:lnTo>
                  <a:pt x="1950" y="1329"/>
                </a:lnTo>
                <a:lnTo>
                  <a:pt x="1945" y="1334"/>
                </a:lnTo>
                <a:lnTo>
                  <a:pt x="1945" y="1602"/>
                </a:lnTo>
                <a:lnTo>
                  <a:pt x="1956" y="1611"/>
                </a:lnTo>
                <a:lnTo>
                  <a:pt x="1961" y="1615"/>
                </a:lnTo>
                <a:lnTo>
                  <a:pt x="1966" y="1617"/>
                </a:lnTo>
                <a:lnTo>
                  <a:pt x="1972" y="1620"/>
                </a:lnTo>
                <a:lnTo>
                  <a:pt x="1977" y="1621"/>
                </a:lnTo>
                <a:lnTo>
                  <a:pt x="1982" y="1622"/>
                </a:lnTo>
                <a:lnTo>
                  <a:pt x="1987" y="1622"/>
                </a:lnTo>
                <a:lnTo>
                  <a:pt x="1995" y="1622"/>
                </a:lnTo>
                <a:lnTo>
                  <a:pt x="1999" y="1621"/>
                </a:lnTo>
                <a:lnTo>
                  <a:pt x="2002" y="1620"/>
                </a:lnTo>
                <a:lnTo>
                  <a:pt x="2005" y="1617"/>
                </a:lnTo>
                <a:lnTo>
                  <a:pt x="2008" y="1615"/>
                </a:lnTo>
                <a:lnTo>
                  <a:pt x="2010" y="1612"/>
                </a:lnTo>
                <a:lnTo>
                  <a:pt x="2013" y="1609"/>
                </a:lnTo>
                <a:lnTo>
                  <a:pt x="2016" y="1600"/>
                </a:lnTo>
                <a:lnTo>
                  <a:pt x="2019" y="1590"/>
                </a:lnTo>
                <a:lnTo>
                  <a:pt x="2020" y="1576"/>
                </a:lnTo>
                <a:lnTo>
                  <a:pt x="2020" y="1562"/>
                </a:lnTo>
                <a:lnTo>
                  <a:pt x="2020" y="1371"/>
                </a:lnTo>
                <a:lnTo>
                  <a:pt x="2020" y="1355"/>
                </a:lnTo>
                <a:lnTo>
                  <a:pt x="2019" y="1343"/>
                </a:lnTo>
                <a:lnTo>
                  <a:pt x="2016" y="1333"/>
                </a:lnTo>
                <a:lnTo>
                  <a:pt x="2014" y="1329"/>
                </a:lnTo>
                <a:lnTo>
                  <a:pt x="2013" y="1325"/>
                </a:lnTo>
                <a:lnTo>
                  <a:pt x="2010" y="1323"/>
                </a:lnTo>
                <a:lnTo>
                  <a:pt x="2008" y="1319"/>
                </a:lnTo>
                <a:lnTo>
                  <a:pt x="2005" y="1318"/>
                </a:lnTo>
                <a:lnTo>
                  <a:pt x="2002" y="1315"/>
                </a:lnTo>
                <a:lnTo>
                  <a:pt x="1995" y="1314"/>
                </a:lnTo>
                <a:lnTo>
                  <a:pt x="1987" y="1313"/>
                </a:lnTo>
                <a:close/>
                <a:moveTo>
                  <a:pt x="2317" y="1366"/>
                </a:moveTo>
                <a:lnTo>
                  <a:pt x="2317" y="1352"/>
                </a:lnTo>
                <a:lnTo>
                  <a:pt x="2316" y="1341"/>
                </a:lnTo>
                <a:lnTo>
                  <a:pt x="2315" y="1336"/>
                </a:lnTo>
                <a:lnTo>
                  <a:pt x="2313" y="1331"/>
                </a:lnTo>
                <a:lnTo>
                  <a:pt x="2308" y="1324"/>
                </a:lnTo>
                <a:lnTo>
                  <a:pt x="2306" y="1322"/>
                </a:lnTo>
                <a:lnTo>
                  <a:pt x="2303" y="1319"/>
                </a:lnTo>
                <a:lnTo>
                  <a:pt x="2301" y="1318"/>
                </a:lnTo>
                <a:lnTo>
                  <a:pt x="2297" y="1315"/>
                </a:lnTo>
                <a:lnTo>
                  <a:pt x="2293" y="1314"/>
                </a:lnTo>
                <a:lnTo>
                  <a:pt x="2290" y="1314"/>
                </a:lnTo>
                <a:lnTo>
                  <a:pt x="2280" y="1313"/>
                </a:lnTo>
                <a:lnTo>
                  <a:pt x="2271" y="1314"/>
                </a:lnTo>
                <a:lnTo>
                  <a:pt x="2266" y="1314"/>
                </a:lnTo>
                <a:lnTo>
                  <a:pt x="2263" y="1315"/>
                </a:lnTo>
                <a:lnTo>
                  <a:pt x="2260" y="1317"/>
                </a:lnTo>
                <a:lnTo>
                  <a:pt x="2256" y="1319"/>
                </a:lnTo>
                <a:lnTo>
                  <a:pt x="2254" y="1322"/>
                </a:lnTo>
                <a:lnTo>
                  <a:pt x="2251" y="1324"/>
                </a:lnTo>
                <a:lnTo>
                  <a:pt x="2249" y="1328"/>
                </a:lnTo>
                <a:lnTo>
                  <a:pt x="2246" y="1331"/>
                </a:lnTo>
                <a:lnTo>
                  <a:pt x="2245" y="1335"/>
                </a:lnTo>
                <a:lnTo>
                  <a:pt x="2244" y="1340"/>
                </a:lnTo>
                <a:lnTo>
                  <a:pt x="2243" y="1351"/>
                </a:lnTo>
                <a:lnTo>
                  <a:pt x="2242" y="1366"/>
                </a:lnTo>
                <a:lnTo>
                  <a:pt x="2242" y="1414"/>
                </a:lnTo>
                <a:lnTo>
                  <a:pt x="2317" y="1414"/>
                </a:lnTo>
                <a:lnTo>
                  <a:pt x="2317" y="1366"/>
                </a:lnTo>
                <a:close/>
                <a:moveTo>
                  <a:pt x="2499" y="1140"/>
                </a:moveTo>
                <a:lnTo>
                  <a:pt x="2496" y="1125"/>
                </a:lnTo>
                <a:lnTo>
                  <a:pt x="2493" y="1109"/>
                </a:lnTo>
                <a:lnTo>
                  <a:pt x="2488" y="1089"/>
                </a:lnTo>
                <a:lnTo>
                  <a:pt x="2485" y="1079"/>
                </a:lnTo>
                <a:lnTo>
                  <a:pt x="2480" y="1068"/>
                </a:lnTo>
                <a:lnTo>
                  <a:pt x="2477" y="1057"/>
                </a:lnTo>
                <a:lnTo>
                  <a:pt x="2472" y="1046"/>
                </a:lnTo>
                <a:lnTo>
                  <a:pt x="2467" y="1036"/>
                </a:lnTo>
                <a:lnTo>
                  <a:pt x="2461" y="1026"/>
                </a:lnTo>
                <a:lnTo>
                  <a:pt x="2454" y="1017"/>
                </a:lnTo>
                <a:lnTo>
                  <a:pt x="2447" y="1009"/>
                </a:lnTo>
                <a:lnTo>
                  <a:pt x="2442" y="1004"/>
                </a:lnTo>
                <a:lnTo>
                  <a:pt x="2437" y="1000"/>
                </a:lnTo>
                <a:lnTo>
                  <a:pt x="2427" y="991"/>
                </a:lnTo>
                <a:lnTo>
                  <a:pt x="2418" y="984"/>
                </a:lnTo>
                <a:lnTo>
                  <a:pt x="2409" y="979"/>
                </a:lnTo>
                <a:lnTo>
                  <a:pt x="2399" y="973"/>
                </a:lnTo>
                <a:lnTo>
                  <a:pt x="2390" y="969"/>
                </a:lnTo>
                <a:lnTo>
                  <a:pt x="2380" y="965"/>
                </a:lnTo>
                <a:lnTo>
                  <a:pt x="2371" y="963"/>
                </a:lnTo>
                <a:lnTo>
                  <a:pt x="2363" y="960"/>
                </a:lnTo>
                <a:lnTo>
                  <a:pt x="2354" y="958"/>
                </a:lnTo>
                <a:lnTo>
                  <a:pt x="2347" y="957"/>
                </a:lnTo>
                <a:lnTo>
                  <a:pt x="2339" y="955"/>
                </a:lnTo>
                <a:lnTo>
                  <a:pt x="2315" y="953"/>
                </a:lnTo>
                <a:lnTo>
                  <a:pt x="2242" y="948"/>
                </a:lnTo>
                <a:lnTo>
                  <a:pt x="2164" y="945"/>
                </a:lnTo>
                <a:lnTo>
                  <a:pt x="2086" y="943"/>
                </a:lnTo>
                <a:lnTo>
                  <a:pt x="2013" y="942"/>
                </a:lnTo>
                <a:lnTo>
                  <a:pt x="1898" y="939"/>
                </a:lnTo>
                <a:lnTo>
                  <a:pt x="1851" y="939"/>
                </a:lnTo>
                <a:lnTo>
                  <a:pt x="1805" y="939"/>
                </a:lnTo>
                <a:lnTo>
                  <a:pt x="1688" y="942"/>
                </a:lnTo>
                <a:lnTo>
                  <a:pt x="1615" y="943"/>
                </a:lnTo>
                <a:lnTo>
                  <a:pt x="1538" y="945"/>
                </a:lnTo>
                <a:lnTo>
                  <a:pt x="1461" y="948"/>
                </a:lnTo>
                <a:lnTo>
                  <a:pt x="1387" y="953"/>
                </a:lnTo>
                <a:lnTo>
                  <a:pt x="1377" y="954"/>
                </a:lnTo>
                <a:lnTo>
                  <a:pt x="1363" y="955"/>
                </a:lnTo>
                <a:lnTo>
                  <a:pt x="1347" y="958"/>
                </a:lnTo>
                <a:lnTo>
                  <a:pt x="1338" y="960"/>
                </a:lnTo>
                <a:lnTo>
                  <a:pt x="1330" y="963"/>
                </a:lnTo>
                <a:lnTo>
                  <a:pt x="1312" y="969"/>
                </a:lnTo>
                <a:lnTo>
                  <a:pt x="1302" y="973"/>
                </a:lnTo>
                <a:lnTo>
                  <a:pt x="1293" y="979"/>
                </a:lnTo>
                <a:lnTo>
                  <a:pt x="1283" y="984"/>
                </a:lnTo>
                <a:lnTo>
                  <a:pt x="1274" y="991"/>
                </a:lnTo>
                <a:lnTo>
                  <a:pt x="1264" y="1000"/>
                </a:lnTo>
                <a:lnTo>
                  <a:pt x="1254" y="1009"/>
                </a:lnTo>
                <a:lnTo>
                  <a:pt x="1247" y="1017"/>
                </a:lnTo>
                <a:lnTo>
                  <a:pt x="1241" y="1026"/>
                </a:lnTo>
                <a:lnTo>
                  <a:pt x="1234" y="1036"/>
                </a:lnTo>
                <a:lnTo>
                  <a:pt x="1229" y="1046"/>
                </a:lnTo>
                <a:lnTo>
                  <a:pt x="1225" y="1057"/>
                </a:lnTo>
                <a:lnTo>
                  <a:pt x="1221" y="1068"/>
                </a:lnTo>
                <a:lnTo>
                  <a:pt x="1213" y="1089"/>
                </a:lnTo>
                <a:lnTo>
                  <a:pt x="1208" y="1109"/>
                </a:lnTo>
                <a:lnTo>
                  <a:pt x="1205" y="1125"/>
                </a:lnTo>
                <a:lnTo>
                  <a:pt x="1202" y="1140"/>
                </a:lnTo>
                <a:lnTo>
                  <a:pt x="1200" y="1158"/>
                </a:lnTo>
                <a:lnTo>
                  <a:pt x="1195" y="1206"/>
                </a:lnTo>
                <a:lnTo>
                  <a:pt x="1192" y="1239"/>
                </a:lnTo>
                <a:lnTo>
                  <a:pt x="1191" y="1275"/>
                </a:lnTo>
                <a:lnTo>
                  <a:pt x="1189" y="1313"/>
                </a:lnTo>
                <a:lnTo>
                  <a:pt x="1189" y="1352"/>
                </a:lnTo>
                <a:lnTo>
                  <a:pt x="1189" y="1453"/>
                </a:lnTo>
                <a:lnTo>
                  <a:pt x="1189" y="1492"/>
                </a:lnTo>
                <a:lnTo>
                  <a:pt x="1191" y="1531"/>
                </a:lnTo>
                <a:lnTo>
                  <a:pt x="1192" y="1568"/>
                </a:lnTo>
                <a:lnTo>
                  <a:pt x="1195" y="1600"/>
                </a:lnTo>
                <a:lnTo>
                  <a:pt x="1197" y="1627"/>
                </a:lnTo>
                <a:lnTo>
                  <a:pt x="1200" y="1648"/>
                </a:lnTo>
                <a:lnTo>
                  <a:pt x="1202" y="1667"/>
                </a:lnTo>
                <a:lnTo>
                  <a:pt x="1205" y="1682"/>
                </a:lnTo>
                <a:lnTo>
                  <a:pt x="1208" y="1696"/>
                </a:lnTo>
                <a:lnTo>
                  <a:pt x="1213" y="1716"/>
                </a:lnTo>
                <a:lnTo>
                  <a:pt x="1217" y="1727"/>
                </a:lnTo>
                <a:lnTo>
                  <a:pt x="1221" y="1739"/>
                </a:lnTo>
                <a:lnTo>
                  <a:pt x="1225" y="1748"/>
                </a:lnTo>
                <a:lnTo>
                  <a:pt x="1229" y="1760"/>
                </a:lnTo>
                <a:lnTo>
                  <a:pt x="1234" y="1771"/>
                </a:lnTo>
                <a:lnTo>
                  <a:pt x="1241" y="1779"/>
                </a:lnTo>
                <a:lnTo>
                  <a:pt x="1247" y="1789"/>
                </a:lnTo>
                <a:lnTo>
                  <a:pt x="1254" y="1797"/>
                </a:lnTo>
                <a:lnTo>
                  <a:pt x="1264" y="1807"/>
                </a:lnTo>
                <a:lnTo>
                  <a:pt x="1274" y="1814"/>
                </a:lnTo>
                <a:lnTo>
                  <a:pt x="1284" y="1821"/>
                </a:lnTo>
                <a:lnTo>
                  <a:pt x="1294" y="1828"/>
                </a:lnTo>
                <a:lnTo>
                  <a:pt x="1305" y="1833"/>
                </a:lnTo>
                <a:lnTo>
                  <a:pt x="1315" y="1836"/>
                </a:lnTo>
                <a:lnTo>
                  <a:pt x="1336" y="1842"/>
                </a:lnTo>
                <a:lnTo>
                  <a:pt x="1345" y="1845"/>
                </a:lnTo>
                <a:lnTo>
                  <a:pt x="1354" y="1847"/>
                </a:lnTo>
                <a:lnTo>
                  <a:pt x="1372" y="1850"/>
                </a:lnTo>
                <a:lnTo>
                  <a:pt x="1400" y="1854"/>
                </a:lnTo>
                <a:lnTo>
                  <a:pt x="1422" y="1855"/>
                </a:lnTo>
                <a:lnTo>
                  <a:pt x="1450" y="1857"/>
                </a:lnTo>
                <a:lnTo>
                  <a:pt x="1515" y="1860"/>
                </a:lnTo>
                <a:lnTo>
                  <a:pt x="1590" y="1862"/>
                </a:lnTo>
                <a:lnTo>
                  <a:pt x="1665" y="1863"/>
                </a:lnTo>
                <a:lnTo>
                  <a:pt x="1795" y="1866"/>
                </a:lnTo>
                <a:lnTo>
                  <a:pt x="1851" y="1867"/>
                </a:lnTo>
                <a:lnTo>
                  <a:pt x="1898" y="1866"/>
                </a:lnTo>
                <a:lnTo>
                  <a:pt x="2013" y="1865"/>
                </a:lnTo>
                <a:lnTo>
                  <a:pt x="2086" y="1863"/>
                </a:lnTo>
                <a:lnTo>
                  <a:pt x="2164" y="1861"/>
                </a:lnTo>
                <a:lnTo>
                  <a:pt x="2242" y="1857"/>
                </a:lnTo>
                <a:lnTo>
                  <a:pt x="2315" y="1852"/>
                </a:lnTo>
                <a:lnTo>
                  <a:pt x="2326" y="1852"/>
                </a:lnTo>
                <a:lnTo>
                  <a:pt x="2339" y="1850"/>
                </a:lnTo>
                <a:lnTo>
                  <a:pt x="2354" y="1847"/>
                </a:lnTo>
                <a:lnTo>
                  <a:pt x="2363" y="1846"/>
                </a:lnTo>
                <a:lnTo>
                  <a:pt x="2371" y="1844"/>
                </a:lnTo>
                <a:lnTo>
                  <a:pt x="2390" y="1837"/>
                </a:lnTo>
                <a:lnTo>
                  <a:pt x="2399" y="1833"/>
                </a:lnTo>
                <a:lnTo>
                  <a:pt x="2409" y="1828"/>
                </a:lnTo>
                <a:lnTo>
                  <a:pt x="2418" y="1821"/>
                </a:lnTo>
                <a:lnTo>
                  <a:pt x="2427" y="1814"/>
                </a:lnTo>
                <a:lnTo>
                  <a:pt x="2437" y="1807"/>
                </a:lnTo>
                <a:lnTo>
                  <a:pt x="2447" y="1797"/>
                </a:lnTo>
                <a:lnTo>
                  <a:pt x="2454" y="1789"/>
                </a:lnTo>
                <a:lnTo>
                  <a:pt x="2461" y="1779"/>
                </a:lnTo>
                <a:lnTo>
                  <a:pt x="2467" y="1771"/>
                </a:lnTo>
                <a:lnTo>
                  <a:pt x="2472" y="1760"/>
                </a:lnTo>
                <a:lnTo>
                  <a:pt x="2477" y="1748"/>
                </a:lnTo>
                <a:lnTo>
                  <a:pt x="2480" y="1739"/>
                </a:lnTo>
                <a:lnTo>
                  <a:pt x="2488" y="1716"/>
                </a:lnTo>
                <a:lnTo>
                  <a:pt x="2493" y="1696"/>
                </a:lnTo>
                <a:lnTo>
                  <a:pt x="2496" y="1682"/>
                </a:lnTo>
                <a:lnTo>
                  <a:pt x="2499" y="1667"/>
                </a:lnTo>
                <a:lnTo>
                  <a:pt x="2501" y="1648"/>
                </a:lnTo>
                <a:lnTo>
                  <a:pt x="2506" y="1600"/>
                </a:lnTo>
                <a:lnTo>
                  <a:pt x="2509" y="1568"/>
                </a:lnTo>
                <a:lnTo>
                  <a:pt x="2510" y="1531"/>
                </a:lnTo>
                <a:lnTo>
                  <a:pt x="2512" y="1492"/>
                </a:lnTo>
                <a:lnTo>
                  <a:pt x="2512" y="1453"/>
                </a:lnTo>
                <a:lnTo>
                  <a:pt x="2512" y="1352"/>
                </a:lnTo>
                <a:lnTo>
                  <a:pt x="2512" y="1313"/>
                </a:lnTo>
                <a:lnTo>
                  <a:pt x="2510" y="1275"/>
                </a:lnTo>
                <a:lnTo>
                  <a:pt x="2509" y="1239"/>
                </a:lnTo>
                <a:lnTo>
                  <a:pt x="2506" y="1206"/>
                </a:lnTo>
                <a:lnTo>
                  <a:pt x="2504" y="1179"/>
                </a:lnTo>
                <a:lnTo>
                  <a:pt x="2501" y="1158"/>
                </a:lnTo>
                <a:lnTo>
                  <a:pt x="2499" y="1140"/>
                </a:lnTo>
                <a:close/>
                <a:moveTo>
                  <a:pt x="1479" y="1690"/>
                </a:moveTo>
                <a:lnTo>
                  <a:pt x="1390" y="1690"/>
                </a:lnTo>
                <a:lnTo>
                  <a:pt x="1390" y="1179"/>
                </a:lnTo>
                <a:lnTo>
                  <a:pt x="1298" y="1179"/>
                </a:lnTo>
                <a:lnTo>
                  <a:pt x="1298" y="1095"/>
                </a:lnTo>
                <a:lnTo>
                  <a:pt x="1577" y="1095"/>
                </a:lnTo>
                <a:lnTo>
                  <a:pt x="1577" y="1179"/>
                </a:lnTo>
                <a:lnTo>
                  <a:pt x="1479" y="1179"/>
                </a:lnTo>
                <a:lnTo>
                  <a:pt x="1479" y="1690"/>
                </a:lnTo>
                <a:close/>
                <a:moveTo>
                  <a:pt x="1799" y="1690"/>
                </a:moveTo>
                <a:lnTo>
                  <a:pt x="1714" y="1690"/>
                </a:lnTo>
                <a:lnTo>
                  <a:pt x="1714" y="1641"/>
                </a:lnTo>
                <a:lnTo>
                  <a:pt x="1702" y="1654"/>
                </a:lnTo>
                <a:lnTo>
                  <a:pt x="1691" y="1666"/>
                </a:lnTo>
                <a:lnTo>
                  <a:pt x="1680" y="1674"/>
                </a:lnTo>
                <a:lnTo>
                  <a:pt x="1669" y="1683"/>
                </a:lnTo>
                <a:lnTo>
                  <a:pt x="1659" y="1688"/>
                </a:lnTo>
                <a:lnTo>
                  <a:pt x="1648" y="1693"/>
                </a:lnTo>
                <a:lnTo>
                  <a:pt x="1643" y="1694"/>
                </a:lnTo>
                <a:lnTo>
                  <a:pt x="1637" y="1695"/>
                </a:lnTo>
                <a:lnTo>
                  <a:pt x="1625" y="1696"/>
                </a:lnTo>
                <a:lnTo>
                  <a:pt x="1617" y="1695"/>
                </a:lnTo>
                <a:lnTo>
                  <a:pt x="1608" y="1694"/>
                </a:lnTo>
                <a:lnTo>
                  <a:pt x="1604" y="1693"/>
                </a:lnTo>
                <a:lnTo>
                  <a:pt x="1601" y="1691"/>
                </a:lnTo>
                <a:lnTo>
                  <a:pt x="1593" y="1688"/>
                </a:lnTo>
                <a:lnTo>
                  <a:pt x="1587" y="1683"/>
                </a:lnTo>
                <a:lnTo>
                  <a:pt x="1581" y="1677"/>
                </a:lnTo>
                <a:lnTo>
                  <a:pt x="1577" y="1669"/>
                </a:lnTo>
                <a:lnTo>
                  <a:pt x="1575" y="1666"/>
                </a:lnTo>
                <a:lnTo>
                  <a:pt x="1573" y="1662"/>
                </a:lnTo>
                <a:lnTo>
                  <a:pt x="1571" y="1657"/>
                </a:lnTo>
                <a:lnTo>
                  <a:pt x="1570" y="1651"/>
                </a:lnTo>
                <a:lnTo>
                  <a:pt x="1566" y="1636"/>
                </a:lnTo>
                <a:lnTo>
                  <a:pt x="1565" y="1627"/>
                </a:lnTo>
                <a:lnTo>
                  <a:pt x="1565" y="1618"/>
                </a:lnTo>
                <a:lnTo>
                  <a:pt x="1564" y="1596"/>
                </a:lnTo>
                <a:lnTo>
                  <a:pt x="1564" y="1246"/>
                </a:lnTo>
                <a:lnTo>
                  <a:pt x="1648" y="1246"/>
                </a:lnTo>
                <a:lnTo>
                  <a:pt x="1648" y="1574"/>
                </a:lnTo>
                <a:lnTo>
                  <a:pt x="1648" y="1606"/>
                </a:lnTo>
                <a:lnTo>
                  <a:pt x="1650" y="1614"/>
                </a:lnTo>
                <a:lnTo>
                  <a:pt x="1651" y="1616"/>
                </a:lnTo>
                <a:lnTo>
                  <a:pt x="1654" y="1618"/>
                </a:lnTo>
                <a:lnTo>
                  <a:pt x="1656" y="1621"/>
                </a:lnTo>
                <a:lnTo>
                  <a:pt x="1659" y="1622"/>
                </a:lnTo>
                <a:lnTo>
                  <a:pt x="1662" y="1622"/>
                </a:lnTo>
                <a:lnTo>
                  <a:pt x="1666" y="1622"/>
                </a:lnTo>
                <a:lnTo>
                  <a:pt x="1672" y="1622"/>
                </a:lnTo>
                <a:lnTo>
                  <a:pt x="1677" y="1620"/>
                </a:lnTo>
                <a:lnTo>
                  <a:pt x="1684" y="1617"/>
                </a:lnTo>
                <a:lnTo>
                  <a:pt x="1690" y="1612"/>
                </a:lnTo>
                <a:lnTo>
                  <a:pt x="1696" y="1607"/>
                </a:lnTo>
                <a:lnTo>
                  <a:pt x="1702" y="1600"/>
                </a:lnTo>
                <a:lnTo>
                  <a:pt x="1714" y="1584"/>
                </a:lnTo>
                <a:lnTo>
                  <a:pt x="1714" y="1246"/>
                </a:lnTo>
                <a:lnTo>
                  <a:pt x="1799" y="1246"/>
                </a:lnTo>
                <a:lnTo>
                  <a:pt x="1799" y="1690"/>
                </a:lnTo>
                <a:close/>
                <a:moveTo>
                  <a:pt x="2104" y="1557"/>
                </a:moveTo>
                <a:lnTo>
                  <a:pt x="2104" y="1585"/>
                </a:lnTo>
                <a:lnTo>
                  <a:pt x="2103" y="1597"/>
                </a:lnTo>
                <a:lnTo>
                  <a:pt x="2102" y="1610"/>
                </a:lnTo>
                <a:lnTo>
                  <a:pt x="2099" y="1630"/>
                </a:lnTo>
                <a:lnTo>
                  <a:pt x="2098" y="1638"/>
                </a:lnTo>
                <a:lnTo>
                  <a:pt x="2096" y="1646"/>
                </a:lnTo>
                <a:lnTo>
                  <a:pt x="2093" y="1652"/>
                </a:lnTo>
                <a:lnTo>
                  <a:pt x="2091" y="1657"/>
                </a:lnTo>
                <a:lnTo>
                  <a:pt x="2086" y="1667"/>
                </a:lnTo>
                <a:lnTo>
                  <a:pt x="2078" y="1675"/>
                </a:lnTo>
                <a:lnTo>
                  <a:pt x="2071" y="1683"/>
                </a:lnTo>
                <a:lnTo>
                  <a:pt x="2066" y="1685"/>
                </a:lnTo>
                <a:lnTo>
                  <a:pt x="2062" y="1688"/>
                </a:lnTo>
                <a:lnTo>
                  <a:pt x="2052" y="1693"/>
                </a:lnTo>
                <a:lnTo>
                  <a:pt x="2041" y="1695"/>
                </a:lnTo>
                <a:lnTo>
                  <a:pt x="2030" y="1695"/>
                </a:lnTo>
                <a:lnTo>
                  <a:pt x="2019" y="1695"/>
                </a:lnTo>
                <a:lnTo>
                  <a:pt x="2014" y="1694"/>
                </a:lnTo>
                <a:lnTo>
                  <a:pt x="2008" y="1693"/>
                </a:lnTo>
                <a:lnTo>
                  <a:pt x="2003" y="1690"/>
                </a:lnTo>
                <a:lnTo>
                  <a:pt x="1998" y="1688"/>
                </a:lnTo>
                <a:lnTo>
                  <a:pt x="1987" y="1683"/>
                </a:lnTo>
                <a:lnTo>
                  <a:pt x="1982" y="1679"/>
                </a:lnTo>
                <a:lnTo>
                  <a:pt x="1977" y="1675"/>
                </a:lnTo>
                <a:lnTo>
                  <a:pt x="1966" y="1667"/>
                </a:lnTo>
                <a:lnTo>
                  <a:pt x="1956" y="1657"/>
                </a:lnTo>
                <a:lnTo>
                  <a:pt x="1945" y="1646"/>
                </a:lnTo>
                <a:lnTo>
                  <a:pt x="1945" y="1690"/>
                </a:lnTo>
                <a:lnTo>
                  <a:pt x="1865" y="1690"/>
                </a:lnTo>
                <a:lnTo>
                  <a:pt x="1865" y="1095"/>
                </a:lnTo>
                <a:lnTo>
                  <a:pt x="1945" y="1095"/>
                </a:lnTo>
                <a:lnTo>
                  <a:pt x="1945" y="1289"/>
                </a:lnTo>
                <a:lnTo>
                  <a:pt x="1954" y="1278"/>
                </a:lnTo>
                <a:lnTo>
                  <a:pt x="1964" y="1268"/>
                </a:lnTo>
                <a:lnTo>
                  <a:pt x="1976" y="1260"/>
                </a:lnTo>
                <a:lnTo>
                  <a:pt x="1985" y="1252"/>
                </a:lnTo>
                <a:lnTo>
                  <a:pt x="1997" y="1247"/>
                </a:lnTo>
                <a:lnTo>
                  <a:pt x="2003" y="1245"/>
                </a:lnTo>
                <a:lnTo>
                  <a:pt x="2008" y="1242"/>
                </a:lnTo>
                <a:lnTo>
                  <a:pt x="2013" y="1241"/>
                </a:lnTo>
                <a:lnTo>
                  <a:pt x="2019" y="1240"/>
                </a:lnTo>
                <a:lnTo>
                  <a:pt x="2030" y="1240"/>
                </a:lnTo>
                <a:lnTo>
                  <a:pt x="2041" y="1240"/>
                </a:lnTo>
                <a:lnTo>
                  <a:pt x="2052" y="1242"/>
                </a:lnTo>
                <a:lnTo>
                  <a:pt x="2057" y="1245"/>
                </a:lnTo>
                <a:lnTo>
                  <a:pt x="2061" y="1247"/>
                </a:lnTo>
                <a:lnTo>
                  <a:pt x="2066" y="1250"/>
                </a:lnTo>
                <a:lnTo>
                  <a:pt x="2070" y="1252"/>
                </a:lnTo>
                <a:lnTo>
                  <a:pt x="2073" y="1256"/>
                </a:lnTo>
                <a:lnTo>
                  <a:pt x="2077" y="1260"/>
                </a:lnTo>
                <a:lnTo>
                  <a:pt x="2081" y="1265"/>
                </a:lnTo>
                <a:lnTo>
                  <a:pt x="2084" y="1268"/>
                </a:lnTo>
                <a:lnTo>
                  <a:pt x="2089" y="1279"/>
                </a:lnTo>
                <a:lnTo>
                  <a:pt x="2094" y="1291"/>
                </a:lnTo>
                <a:lnTo>
                  <a:pt x="2098" y="1307"/>
                </a:lnTo>
                <a:lnTo>
                  <a:pt x="2099" y="1315"/>
                </a:lnTo>
                <a:lnTo>
                  <a:pt x="2102" y="1326"/>
                </a:lnTo>
                <a:lnTo>
                  <a:pt x="2104" y="1350"/>
                </a:lnTo>
                <a:lnTo>
                  <a:pt x="2104" y="1365"/>
                </a:lnTo>
                <a:lnTo>
                  <a:pt x="2104" y="1380"/>
                </a:lnTo>
                <a:lnTo>
                  <a:pt x="2104" y="1557"/>
                </a:lnTo>
                <a:close/>
                <a:moveTo>
                  <a:pt x="2281" y="1622"/>
                </a:moveTo>
                <a:lnTo>
                  <a:pt x="2289" y="1622"/>
                </a:lnTo>
                <a:lnTo>
                  <a:pt x="2295" y="1621"/>
                </a:lnTo>
                <a:lnTo>
                  <a:pt x="2300" y="1618"/>
                </a:lnTo>
                <a:lnTo>
                  <a:pt x="2305" y="1615"/>
                </a:lnTo>
                <a:lnTo>
                  <a:pt x="2307" y="1612"/>
                </a:lnTo>
                <a:lnTo>
                  <a:pt x="2308" y="1610"/>
                </a:lnTo>
                <a:lnTo>
                  <a:pt x="2312" y="1605"/>
                </a:lnTo>
                <a:lnTo>
                  <a:pt x="2315" y="1597"/>
                </a:lnTo>
                <a:lnTo>
                  <a:pt x="2317" y="1590"/>
                </a:lnTo>
                <a:lnTo>
                  <a:pt x="2317" y="1584"/>
                </a:lnTo>
                <a:lnTo>
                  <a:pt x="2317" y="1573"/>
                </a:lnTo>
                <a:lnTo>
                  <a:pt x="2317" y="1534"/>
                </a:lnTo>
                <a:lnTo>
                  <a:pt x="2401" y="1534"/>
                </a:lnTo>
                <a:lnTo>
                  <a:pt x="2401" y="1547"/>
                </a:lnTo>
                <a:lnTo>
                  <a:pt x="2401" y="1565"/>
                </a:lnTo>
                <a:lnTo>
                  <a:pt x="2401" y="1580"/>
                </a:lnTo>
                <a:lnTo>
                  <a:pt x="2399" y="1600"/>
                </a:lnTo>
                <a:lnTo>
                  <a:pt x="2396" y="1612"/>
                </a:lnTo>
                <a:lnTo>
                  <a:pt x="2392" y="1625"/>
                </a:lnTo>
                <a:lnTo>
                  <a:pt x="2386" y="1637"/>
                </a:lnTo>
                <a:lnTo>
                  <a:pt x="2384" y="1642"/>
                </a:lnTo>
                <a:lnTo>
                  <a:pt x="2380" y="1647"/>
                </a:lnTo>
                <a:lnTo>
                  <a:pt x="2376" y="1653"/>
                </a:lnTo>
                <a:lnTo>
                  <a:pt x="2371" y="1659"/>
                </a:lnTo>
                <a:lnTo>
                  <a:pt x="2362" y="1668"/>
                </a:lnTo>
                <a:lnTo>
                  <a:pt x="2357" y="1673"/>
                </a:lnTo>
                <a:lnTo>
                  <a:pt x="2350" y="1677"/>
                </a:lnTo>
                <a:lnTo>
                  <a:pt x="2339" y="1684"/>
                </a:lnTo>
                <a:lnTo>
                  <a:pt x="2327" y="1689"/>
                </a:lnTo>
                <a:lnTo>
                  <a:pt x="2319" y="1690"/>
                </a:lnTo>
                <a:lnTo>
                  <a:pt x="2313" y="1693"/>
                </a:lnTo>
                <a:lnTo>
                  <a:pt x="2306" y="1694"/>
                </a:lnTo>
                <a:lnTo>
                  <a:pt x="2298" y="1695"/>
                </a:lnTo>
                <a:lnTo>
                  <a:pt x="2291" y="1695"/>
                </a:lnTo>
                <a:lnTo>
                  <a:pt x="2284" y="1695"/>
                </a:lnTo>
                <a:lnTo>
                  <a:pt x="2268" y="1695"/>
                </a:lnTo>
                <a:lnTo>
                  <a:pt x="2254" y="1693"/>
                </a:lnTo>
                <a:lnTo>
                  <a:pt x="2240" y="1689"/>
                </a:lnTo>
                <a:lnTo>
                  <a:pt x="2228" y="1684"/>
                </a:lnTo>
                <a:lnTo>
                  <a:pt x="2222" y="1682"/>
                </a:lnTo>
                <a:lnTo>
                  <a:pt x="2216" y="1678"/>
                </a:lnTo>
                <a:lnTo>
                  <a:pt x="2204" y="1670"/>
                </a:lnTo>
                <a:lnTo>
                  <a:pt x="2199" y="1666"/>
                </a:lnTo>
                <a:lnTo>
                  <a:pt x="2195" y="1661"/>
                </a:lnTo>
                <a:lnTo>
                  <a:pt x="2186" y="1651"/>
                </a:lnTo>
                <a:lnTo>
                  <a:pt x="2180" y="1641"/>
                </a:lnTo>
                <a:lnTo>
                  <a:pt x="2175" y="1631"/>
                </a:lnTo>
                <a:lnTo>
                  <a:pt x="2172" y="1626"/>
                </a:lnTo>
                <a:lnTo>
                  <a:pt x="2170" y="1621"/>
                </a:lnTo>
                <a:lnTo>
                  <a:pt x="2165" y="1609"/>
                </a:lnTo>
                <a:lnTo>
                  <a:pt x="2162" y="1595"/>
                </a:lnTo>
                <a:lnTo>
                  <a:pt x="2160" y="1580"/>
                </a:lnTo>
                <a:lnTo>
                  <a:pt x="2159" y="1565"/>
                </a:lnTo>
                <a:lnTo>
                  <a:pt x="2157" y="1548"/>
                </a:lnTo>
                <a:lnTo>
                  <a:pt x="2157" y="1393"/>
                </a:lnTo>
                <a:lnTo>
                  <a:pt x="2159" y="1376"/>
                </a:lnTo>
                <a:lnTo>
                  <a:pt x="2160" y="1359"/>
                </a:lnTo>
                <a:lnTo>
                  <a:pt x="2162" y="1344"/>
                </a:lnTo>
                <a:lnTo>
                  <a:pt x="2165" y="1330"/>
                </a:lnTo>
                <a:lnTo>
                  <a:pt x="2169" y="1318"/>
                </a:lnTo>
                <a:lnTo>
                  <a:pt x="2173" y="1305"/>
                </a:lnTo>
                <a:lnTo>
                  <a:pt x="2178" y="1296"/>
                </a:lnTo>
                <a:lnTo>
                  <a:pt x="2185" y="1287"/>
                </a:lnTo>
                <a:lnTo>
                  <a:pt x="2195" y="1276"/>
                </a:lnTo>
                <a:lnTo>
                  <a:pt x="2198" y="1271"/>
                </a:lnTo>
                <a:lnTo>
                  <a:pt x="2204" y="1266"/>
                </a:lnTo>
                <a:lnTo>
                  <a:pt x="2214" y="1258"/>
                </a:lnTo>
                <a:lnTo>
                  <a:pt x="2227" y="1252"/>
                </a:lnTo>
                <a:lnTo>
                  <a:pt x="2239" y="1246"/>
                </a:lnTo>
                <a:lnTo>
                  <a:pt x="2245" y="1245"/>
                </a:lnTo>
                <a:lnTo>
                  <a:pt x="2251" y="1242"/>
                </a:lnTo>
                <a:lnTo>
                  <a:pt x="2259" y="1241"/>
                </a:lnTo>
                <a:lnTo>
                  <a:pt x="2266" y="1241"/>
                </a:lnTo>
                <a:lnTo>
                  <a:pt x="2274" y="1240"/>
                </a:lnTo>
                <a:lnTo>
                  <a:pt x="2281" y="1240"/>
                </a:lnTo>
                <a:lnTo>
                  <a:pt x="2296" y="1241"/>
                </a:lnTo>
                <a:lnTo>
                  <a:pt x="2310" y="1242"/>
                </a:lnTo>
                <a:lnTo>
                  <a:pt x="2316" y="1245"/>
                </a:lnTo>
                <a:lnTo>
                  <a:pt x="2323" y="1246"/>
                </a:lnTo>
                <a:lnTo>
                  <a:pt x="2329" y="1249"/>
                </a:lnTo>
                <a:lnTo>
                  <a:pt x="2336" y="1252"/>
                </a:lnTo>
                <a:lnTo>
                  <a:pt x="2341" y="1255"/>
                </a:lnTo>
                <a:lnTo>
                  <a:pt x="2347" y="1258"/>
                </a:lnTo>
                <a:lnTo>
                  <a:pt x="2352" y="1262"/>
                </a:lnTo>
                <a:lnTo>
                  <a:pt x="2357" y="1266"/>
                </a:lnTo>
                <a:lnTo>
                  <a:pt x="2366" y="1276"/>
                </a:lnTo>
                <a:lnTo>
                  <a:pt x="2371" y="1281"/>
                </a:lnTo>
                <a:lnTo>
                  <a:pt x="2375" y="1287"/>
                </a:lnTo>
                <a:lnTo>
                  <a:pt x="2381" y="1296"/>
                </a:lnTo>
                <a:lnTo>
                  <a:pt x="2386" y="1305"/>
                </a:lnTo>
                <a:lnTo>
                  <a:pt x="2391" y="1317"/>
                </a:lnTo>
                <a:lnTo>
                  <a:pt x="2395" y="1329"/>
                </a:lnTo>
                <a:lnTo>
                  <a:pt x="2396" y="1336"/>
                </a:lnTo>
                <a:lnTo>
                  <a:pt x="2397" y="1343"/>
                </a:lnTo>
                <a:lnTo>
                  <a:pt x="2400" y="1357"/>
                </a:lnTo>
                <a:lnTo>
                  <a:pt x="2401" y="1374"/>
                </a:lnTo>
                <a:lnTo>
                  <a:pt x="2402" y="1391"/>
                </a:lnTo>
                <a:lnTo>
                  <a:pt x="2402" y="1481"/>
                </a:lnTo>
                <a:lnTo>
                  <a:pt x="2242" y="1481"/>
                </a:lnTo>
                <a:lnTo>
                  <a:pt x="2242" y="1562"/>
                </a:lnTo>
                <a:lnTo>
                  <a:pt x="2243" y="1575"/>
                </a:lnTo>
                <a:lnTo>
                  <a:pt x="2244" y="1588"/>
                </a:lnTo>
                <a:lnTo>
                  <a:pt x="2245" y="1594"/>
                </a:lnTo>
                <a:lnTo>
                  <a:pt x="2246" y="1599"/>
                </a:lnTo>
                <a:lnTo>
                  <a:pt x="2249" y="1602"/>
                </a:lnTo>
                <a:lnTo>
                  <a:pt x="2251" y="1607"/>
                </a:lnTo>
                <a:lnTo>
                  <a:pt x="2256" y="1614"/>
                </a:lnTo>
                <a:lnTo>
                  <a:pt x="2264" y="1618"/>
                </a:lnTo>
                <a:lnTo>
                  <a:pt x="2268" y="1621"/>
                </a:lnTo>
                <a:lnTo>
                  <a:pt x="2271" y="1621"/>
                </a:lnTo>
                <a:lnTo>
                  <a:pt x="2281" y="1622"/>
                </a:lnTo>
                <a:close/>
                <a:moveTo>
                  <a:pt x="0" y="0"/>
                </a:moveTo>
                <a:lnTo>
                  <a:pt x="700" y="0"/>
                </a:lnTo>
                <a:lnTo>
                  <a:pt x="1401" y="0"/>
                </a:lnTo>
                <a:lnTo>
                  <a:pt x="2103" y="0"/>
                </a:lnTo>
                <a:lnTo>
                  <a:pt x="2804" y="0"/>
                </a:lnTo>
                <a:lnTo>
                  <a:pt x="2804" y="702"/>
                </a:lnTo>
                <a:lnTo>
                  <a:pt x="2804" y="1403"/>
                </a:lnTo>
                <a:lnTo>
                  <a:pt x="2804" y="2105"/>
                </a:lnTo>
                <a:lnTo>
                  <a:pt x="2804" y="2806"/>
                </a:lnTo>
                <a:lnTo>
                  <a:pt x="2103" y="2806"/>
                </a:lnTo>
                <a:lnTo>
                  <a:pt x="1401" y="2806"/>
                </a:lnTo>
                <a:lnTo>
                  <a:pt x="700" y="2806"/>
                </a:lnTo>
                <a:lnTo>
                  <a:pt x="0" y="2806"/>
                </a:lnTo>
                <a:lnTo>
                  <a:pt x="0" y="2105"/>
                </a:lnTo>
                <a:lnTo>
                  <a:pt x="0" y="1403"/>
                </a:lnTo>
                <a:lnTo>
                  <a:pt x="0" y="702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0201" tIns="40100" rIns="80201" bIns="40100" numCol="1" anchor="t" anchorCtr="0" compatLnSpc="1">
            <a:prstTxWarp prst="textNoShape">
              <a:avLst/>
            </a:prstTxWarp>
          </a:bodyPr>
          <a:lstStyle/>
          <a:p>
            <a:endParaRPr lang="en-GB" sz="1579"/>
          </a:p>
        </p:txBody>
      </p:sp>
      <p:sp>
        <p:nvSpPr>
          <p:cNvPr id="10" name="Freeform 11">
            <a:hlinkClick r:id="rId5" tooltip="Instagram"/>
          </p:cNvPr>
          <p:cNvSpPr>
            <a:spLocks noChangeAspect="1" noEditPoints="1"/>
          </p:cNvSpPr>
          <p:nvPr/>
        </p:nvSpPr>
        <p:spPr bwMode="auto">
          <a:xfrm>
            <a:off x="5851984" y="684481"/>
            <a:ext cx="252600" cy="317600"/>
          </a:xfrm>
          <a:custGeom>
            <a:avLst/>
            <a:gdLst>
              <a:gd name="T0" fmla="*/ 1898 w 2806"/>
              <a:gd name="T1" fmla="*/ 704 h 2806"/>
              <a:gd name="T2" fmla="*/ 2038 w 2806"/>
              <a:gd name="T3" fmla="*/ 791 h 2806"/>
              <a:gd name="T4" fmla="*/ 2114 w 2806"/>
              <a:gd name="T5" fmla="*/ 964 h 2806"/>
              <a:gd name="T6" fmla="*/ 2126 w 2806"/>
              <a:gd name="T7" fmla="*/ 1699 h 2806"/>
              <a:gd name="T8" fmla="*/ 2072 w 2806"/>
              <a:gd name="T9" fmla="*/ 1967 h 2806"/>
              <a:gd name="T10" fmla="*/ 1954 w 2806"/>
              <a:gd name="T11" fmla="*/ 2080 h 2806"/>
              <a:gd name="T12" fmla="*/ 1699 w 2806"/>
              <a:gd name="T13" fmla="*/ 2126 h 2806"/>
              <a:gd name="T14" fmla="*/ 943 w 2806"/>
              <a:gd name="T15" fmla="*/ 2111 h 2806"/>
              <a:gd name="T16" fmla="*/ 792 w 2806"/>
              <a:gd name="T17" fmla="*/ 2038 h 2806"/>
              <a:gd name="T18" fmla="*/ 700 w 2806"/>
              <a:gd name="T19" fmla="*/ 1882 h 2806"/>
              <a:gd name="T20" fmla="*/ 678 w 2806"/>
              <a:gd name="T21" fmla="*/ 1210 h 2806"/>
              <a:gd name="T22" fmla="*/ 720 w 2806"/>
              <a:gd name="T23" fmla="*/ 866 h 2806"/>
              <a:gd name="T24" fmla="*/ 826 w 2806"/>
              <a:gd name="T25" fmla="*/ 741 h 2806"/>
              <a:gd name="T26" fmla="*/ 1029 w 2806"/>
              <a:gd name="T27" fmla="*/ 684 h 2806"/>
              <a:gd name="T28" fmla="*/ 1005 w 2806"/>
              <a:gd name="T29" fmla="*/ 526 h 2806"/>
              <a:gd name="T30" fmla="*/ 762 w 2806"/>
              <a:gd name="T31" fmla="*/ 594 h 2806"/>
              <a:gd name="T32" fmla="*/ 594 w 2806"/>
              <a:gd name="T33" fmla="*/ 761 h 2806"/>
              <a:gd name="T34" fmla="*/ 523 w 2806"/>
              <a:gd name="T35" fmla="*/ 1038 h 2806"/>
              <a:gd name="T36" fmla="*/ 533 w 2806"/>
              <a:gd name="T37" fmla="*/ 1862 h 2806"/>
              <a:gd name="T38" fmla="*/ 619 w 2806"/>
              <a:gd name="T39" fmla="*/ 2084 h 2806"/>
              <a:gd name="T40" fmla="*/ 782 w 2806"/>
              <a:gd name="T41" fmla="*/ 2222 h 2806"/>
              <a:gd name="T42" fmla="*/ 1101 w 2806"/>
              <a:gd name="T43" fmla="*/ 2284 h 2806"/>
              <a:gd name="T44" fmla="*/ 1889 w 2806"/>
              <a:gd name="T45" fmla="*/ 2268 h 2806"/>
              <a:gd name="T46" fmla="*/ 2092 w 2806"/>
              <a:gd name="T47" fmla="*/ 2180 h 2806"/>
              <a:gd name="T48" fmla="*/ 2241 w 2806"/>
              <a:gd name="T49" fmla="*/ 1982 h 2806"/>
              <a:gd name="T50" fmla="*/ 2288 w 2806"/>
              <a:gd name="T51" fmla="*/ 1548 h 2806"/>
              <a:gd name="T52" fmla="*/ 2259 w 2806"/>
              <a:gd name="T53" fmla="*/ 880 h 2806"/>
              <a:gd name="T54" fmla="*/ 2165 w 2806"/>
              <a:gd name="T55" fmla="*/ 694 h 2806"/>
              <a:gd name="T56" fmla="*/ 1961 w 2806"/>
              <a:gd name="T57" fmla="*/ 557 h 2806"/>
              <a:gd name="T58" fmla="*/ 1403 w 2806"/>
              <a:gd name="T59" fmla="*/ 518 h 2806"/>
              <a:gd name="T60" fmla="*/ 1168 w 2806"/>
              <a:gd name="T61" fmla="*/ 1015 h 2806"/>
              <a:gd name="T62" fmla="*/ 994 w 2806"/>
              <a:gd name="T63" fmla="*/ 1206 h 2806"/>
              <a:gd name="T64" fmla="*/ 951 w 2806"/>
              <a:gd name="T65" fmla="*/ 1449 h 2806"/>
              <a:gd name="T66" fmla="*/ 1053 w 2806"/>
              <a:gd name="T67" fmla="*/ 1691 h 2806"/>
              <a:gd name="T68" fmla="*/ 1268 w 2806"/>
              <a:gd name="T69" fmla="*/ 1836 h 2806"/>
              <a:gd name="T70" fmla="*/ 1517 w 2806"/>
              <a:gd name="T71" fmla="*/ 1842 h 2806"/>
              <a:gd name="T72" fmla="*/ 1740 w 2806"/>
              <a:gd name="T73" fmla="*/ 1709 h 2806"/>
              <a:gd name="T74" fmla="*/ 1848 w 2806"/>
              <a:gd name="T75" fmla="*/ 1495 h 2806"/>
              <a:gd name="T76" fmla="*/ 1821 w 2806"/>
              <a:gd name="T77" fmla="*/ 1226 h 2806"/>
              <a:gd name="T78" fmla="*/ 1657 w 2806"/>
              <a:gd name="T79" fmla="*/ 1027 h 2806"/>
              <a:gd name="T80" fmla="*/ 1427 w 2806"/>
              <a:gd name="T81" fmla="*/ 949 h 2806"/>
              <a:gd name="T82" fmla="*/ 1262 w 2806"/>
              <a:gd name="T83" fmla="*/ 1662 h 2806"/>
              <a:gd name="T84" fmla="*/ 1143 w 2806"/>
              <a:gd name="T85" fmla="*/ 1543 h 2806"/>
              <a:gd name="T86" fmla="*/ 1110 w 2806"/>
              <a:gd name="T87" fmla="*/ 1373 h 2806"/>
              <a:gd name="T88" fmla="*/ 1175 w 2806"/>
              <a:gd name="T89" fmla="*/ 1215 h 2806"/>
              <a:gd name="T90" fmla="*/ 1315 w 2806"/>
              <a:gd name="T91" fmla="*/ 1121 h 2806"/>
              <a:gd name="T92" fmla="*/ 1491 w 2806"/>
              <a:gd name="T93" fmla="*/ 1121 h 2806"/>
              <a:gd name="T94" fmla="*/ 1631 w 2806"/>
              <a:gd name="T95" fmla="*/ 1215 h 2806"/>
              <a:gd name="T96" fmla="*/ 1696 w 2806"/>
              <a:gd name="T97" fmla="*/ 1373 h 2806"/>
              <a:gd name="T98" fmla="*/ 1662 w 2806"/>
              <a:gd name="T99" fmla="*/ 1543 h 2806"/>
              <a:gd name="T100" fmla="*/ 1544 w 2806"/>
              <a:gd name="T101" fmla="*/ 1662 h 2806"/>
              <a:gd name="T102" fmla="*/ 1769 w 2806"/>
              <a:gd name="T103" fmla="*/ 921 h 2806"/>
              <a:gd name="T104" fmla="*/ 1834 w 2806"/>
              <a:gd name="T105" fmla="*/ 833 h 2806"/>
              <a:gd name="T106" fmla="*/ 1946 w 2806"/>
              <a:gd name="T107" fmla="*/ 852 h 2806"/>
              <a:gd name="T108" fmla="*/ 1976 w 2806"/>
              <a:gd name="T109" fmla="*/ 963 h 2806"/>
              <a:gd name="T110" fmla="*/ 1897 w 2806"/>
              <a:gd name="T111" fmla="*/ 1034 h 2806"/>
              <a:gd name="T112" fmla="*/ 1793 w 2806"/>
              <a:gd name="T113" fmla="*/ 998 h 2806"/>
              <a:gd name="T114" fmla="*/ 2806 w 2806"/>
              <a:gd name="T115" fmla="*/ 0 h 2806"/>
              <a:gd name="T116" fmla="*/ 0 w 2806"/>
              <a:gd name="T117" fmla="*/ 0 h 28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806" h="2806">
                <a:moveTo>
                  <a:pt x="1403" y="678"/>
                </a:moveTo>
                <a:lnTo>
                  <a:pt x="1545" y="678"/>
                </a:lnTo>
                <a:lnTo>
                  <a:pt x="1595" y="678"/>
                </a:lnTo>
                <a:lnTo>
                  <a:pt x="1636" y="679"/>
                </a:lnTo>
                <a:lnTo>
                  <a:pt x="1699" y="681"/>
                </a:lnTo>
                <a:lnTo>
                  <a:pt x="1761" y="683"/>
                </a:lnTo>
                <a:lnTo>
                  <a:pt x="1790" y="685"/>
                </a:lnTo>
                <a:lnTo>
                  <a:pt x="1818" y="688"/>
                </a:lnTo>
                <a:lnTo>
                  <a:pt x="1842" y="692"/>
                </a:lnTo>
                <a:lnTo>
                  <a:pt x="1863" y="695"/>
                </a:lnTo>
                <a:lnTo>
                  <a:pt x="1882" y="699"/>
                </a:lnTo>
                <a:lnTo>
                  <a:pt x="1898" y="704"/>
                </a:lnTo>
                <a:lnTo>
                  <a:pt x="1912" y="709"/>
                </a:lnTo>
                <a:lnTo>
                  <a:pt x="1925" y="714"/>
                </a:lnTo>
                <a:lnTo>
                  <a:pt x="1940" y="720"/>
                </a:lnTo>
                <a:lnTo>
                  <a:pt x="1954" y="726"/>
                </a:lnTo>
                <a:lnTo>
                  <a:pt x="1967" y="734"/>
                </a:lnTo>
                <a:lnTo>
                  <a:pt x="1980" y="741"/>
                </a:lnTo>
                <a:lnTo>
                  <a:pt x="1992" y="750"/>
                </a:lnTo>
                <a:lnTo>
                  <a:pt x="2003" y="758"/>
                </a:lnTo>
                <a:lnTo>
                  <a:pt x="2009" y="763"/>
                </a:lnTo>
                <a:lnTo>
                  <a:pt x="2014" y="768"/>
                </a:lnTo>
                <a:lnTo>
                  <a:pt x="2027" y="779"/>
                </a:lnTo>
                <a:lnTo>
                  <a:pt x="2038" y="791"/>
                </a:lnTo>
                <a:lnTo>
                  <a:pt x="2048" y="803"/>
                </a:lnTo>
                <a:lnTo>
                  <a:pt x="2056" y="814"/>
                </a:lnTo>
                <a:lnTo>
                  <a:pt x="2065" y="827"/>
                </a:lnTo>
                <a:lnTo>
                  <a:pt x="2072" y="839"/>
                </a:lnTo>
                <a:lnTo>
                  <a:pt x="2080" y="852"/>
                </a:lnTo>
                <a:lnTo>
                  <a:pt x="2086" y="866"/>
                </a:lnTo>
                <a:lnTo>
                  <a:pt x="2092" y="881"/>
                </a:lnTo>
                <a:lnTo>
                  <a:pt x="2097" y="893"/>
                </a:lnTo>
                <a:lnTo>
                  <a:pt x="2102" y="908"/>
                </a:lnTo>
                <a:lnTo>
                  <a:pt x="2106" y="924"/>
                </a:lnTo>
                <a:lnTo>
                  <a:pt x="2111" y="943"/>
                </a:lnTo>
                <a:lnTo>
                  <a:pt x="2114" y="964"/>
                </a:lnTo>
                <a:lnTo>
                  <a:pt x="2118" y="987"/>
                </a:lnTo>
                <a:lnTo>
                  <a:pt x="2121" y="1015"/>
                </a:lnTo>
                <a:lnTo>
                  <a:pt x="2122" y="1029"/>
                </a:lnTo>
                <a:lnTo>
                  <a:pt x="2123" y="1046"/>
                </a:lnTo>
                <a:lnTo>
                  <a:pt x="2126" y="1107"/>
                </a:lnTo>
                <a:lnTo>
                  <a:pt x="2127" y="1170"/>
                </a:lnTo>
                <a:lnTo>
                  <a:pt x="2128" y="1261"/>
                </a:lnTo>
                <a:lnTo>
                  <a:pt x="2128" y="1403"/>
                </a:lnTo>
                <a:lnTo>
                  <a:pt x="2128" y="1545"/>
                </a:lnTo>
                <a:lnTo>
                  <a:pt x="2128" y="1595"/>
                </a:lnTo>
                <a:lnTo>
                  <a:pt x="2127" y="1636"/>
                </a:lnTo>
                <a:lnTo>
                  <a:pt x="2126" y="1699"/>
                </a:lnTo>
                <a:lnTo>
                  <a:pt x="2123" y="1761"/>
                </a:lnTo>
                <a:lnTo>
                  <a:pt x="2121" y="1790"/>
                </a:lnTo>
                <a:lnTo>
                  <a:pt x="2118" y="1818"/>
                </a:lnTo>
                <a:lnTo>
                  <a:pt x="2114" y="1842"/>
                </a:lnTo>
                <a:lnTo>
                  <a:pt x="2111" y="1863"/>
                </a:lnTo>
                <a:lnTo>
                  <a:pt x="2106" y="1882"/>
                </a:lnTo>
                <a:lnTo>
                  <a:pt x="2102" y="1898"/>
                </a:lnTo>
                <a:lnTo>
                  <a:pt x="2097" y="1912"/>
                </a:lnTo>
                <a:lnTo>
                  <a:pt x="2092" y="1924"/>
                </a:lnTo>
                <a:lnTo>
                  <a:pt x="2086" y="1940"/>
                </a:lnTo>
                <a:lnTo>
                  <a:pt x="2080" y="1954"/>
                </a:lnTo>
                <a:lnTo>
                  <a:pt x="2072" y="1967"/>
                </a:lnTo>
                <a:lnTo>
                  <a:pt x="2065" y="1980"/>
                </a:lnTo>
                <a:lnTo>
                  <a:pt x="2056" y="1991"/>
                </a:lnTo>
                <a:lnTo>
                  <a:pt x="2048" y="2003"/>
                </a:lnTo>
                <a:lnTo>
                  <a:pt x="2043" y="2009"/>
                </a:lnTo>
                <a:lnTo>
                  <a:pt x="2038" y="2014"/>
                </a:lnTo>
                <a:lnTo>
                  <a:pt x="2027" y="2027"/>
                </a:lnTo>
                <a:lnTo>
                  <a:pt x="2014" y="2038"/>
                </a:lnTo>
                <a:lnTo>
                  <a:pt x="2003" y="2048"/>
                </a:lnTo>
                <a:lnTo>
                  <a:pt x="1992" y="2056"/>
                </a:lnTo>
                <a:lnTo>
                  <a:pt x="1980" y="2065"/>
                </a:lnTo>
                <a:lnTo>
                  <a:pt x="1967" y="2072"/>
                </a:lnTo>
                <a:lnTo>
                  <a:pt x="1954" y="2080"/>
                </a:lnTo>
                <a:lnTo>
                  <a:pt x="1940" y="2086"/>
                </a:lnTo>
                <a:lnTo>
                  <a:pt x="1925" y="2092"/>
                </a:lnTo>
                <a:lnTo>
                  <a:pt x="1912" y="2097"/>
                </a:lnTo>
                <a:lnTo>
                  <a:pt x="1898" y="2102"/>
                </a:lnTo>
                <a:lnTo>
                  <a:pt x="1882" y="2106"/>
                </a:lnTo>
                <a:lnTo>
                  <a:pt x="1863" y="2111"/>
                </a:lnTo>
                <a:lnTo>
                  <a:pt x="1842" y="2115"/>
                </a:lnTo>
                <a:lnTo>
                  <a:pt x="1818" y="2118"/>
                </a:lnTo>
                <a:lnTo>
                  <a:pt x="1790" y="2121"/>
                </a:lnTo>
                <a:lnTo>
                  <a:pt x="1777" y="2122"/>
                </a:lnTo>
                <a:lnTo>
                  <a:pt x="1761" y="2123"/>
                </a:lnTo>
                <a:lnTo>
                  <a:pt x="1699" y="2126"/>
                </a:lnTo>
                <a:lnTo>
                  <a:pt x="1636" y="2127"/>
                </a:lnTo>
                <a:lnTo>
                  <a:pt x="1545" y="2128"/>
                </a:lnTo>
                <a:lnTo>
                  <a:pt x="1403" y="2128"/>
                </a:lnTo>
                <a:lnTo>
                  <a:pt x="1261" y="2128"/>
                </a:lnTo>
                <a:lnTo>
                  <a:pt x="1211" y="2127"/>
                </a:lnTo>
                <a:lnTo>
                  <a:pt x="1170" y="2127"/>
                </a:lnTo>
                <a:lnTo>
                  <a:pt x="1107" y="2126"/>
                </a:lnTo>
                <a:lnTo>
                  <a:pt x="1045" y="2123"/>
                </a:lnTo>
                <a:lnTo>
                  <a:pt x="1015" y="2121"/>
                </a:lnTo>
                <a:lnTo>
                  <a:pt x="989" y="2118"/>
                </a:lnTo>
                <a:lnTo>
                  <a:pt x="964" y="2115"/>
                </a:lnTo>
                <a:lnTo>
                  <a:pt x="943" y="2111"/>
                </a:lnTo>
                <a:lnTo>
                  <a:pt x="924" y="2106"/>
                </a:lnTo>
                <a:lnTo>
                  <a:pt x="908" y="2102"/>
                </a:lnTo>
                <a:lnTo>
                  <a:pt x="893" y="2097"/>
                </a:lnTo>
                <a:lnTo>
                  <a:pt x="881" y="2092"/>
                </a:lnTo>
                <a:lnTo>
                  <a:pt x="866" y="2086"/>
                </a:lnTo>
                <a:lnTo>
                  <a:pt x="852" y="2080"/>
                </a:lnTo>
                <a:lnTo>
                  <a:pt x="839" y="2072"/>
                </a:lnTo>
                <a:lnTo>
                  <a:pt x="826" y="2065"/>
                </a:lnTo>
                <a:lnTo>
                  <a:pt x="814" y="2056"/>
                </a:lnTo>
                <a:lnTo>
                  <a:pt x="803" y="2048"/>
                </a:lnTo>
                <a:lnTo>
                  <a:pt x="797" y="2043"/>
                </a:lnTo>
                <a:lnTo>
                  <a:pt x="792" y="2038"/>
                </a:lnTo>
                <a:lnTo>
                  <a:pt x="779" y="2027"/>
                </a:lnTo>
                <a:lnTo>
                  <a:pt x="768" y="2014"/>
                </a:lnTo>
                <a:lnTo>
                  <a:pt x="758" y="2003"/>
                </a:lnTo>
                <a:lnTo>
                  <a:pt x="750" y="1991"/>
                </a:lnTo>
                <a:lnTo>
                  <a:pt x="741" y="1980"/>
                </a:lnTo>
                <a:lnTo>
                  <a:pt x="734" y="1967"/>
                </a:lnTo>
                <a:lnTo>
                  <a:pt x="726" y="1954"/>
                </a:lnTo>
                <a:lnTo>
                  <a:pt x="720" y="1940"/>
                </a:lnTo>
                <a:lnTo>
                  <a:pt x="714" y="1924"/>
                </a:lnTo>
                <a:lnTo>
                  <a:pt x="709" y="1912"/>
                </a:lnTo>
                <a:lnTo>
                  <a:pt x="704" y="1898"/>
                </a:lnTo>
                <a:lnTo>
                  <a:pt x="700" y="1882"/>
                </a:lnTo>
                <a:lnTo>
                  <a:pt x="695" y="1863"/>
                </a:lnTo>
                <a:lnTo>
                  <a:pt x="692" y="1842"/>
                </a:lnTo>
                <a:lnTo>
                  <a:pt x="688" y="1818"/>
                </a:lnTo>
                <a:lnTo>
                  <a:pt x="685" y="1790"/>
                </a:lnTo>
                <a:lnTo>
                  <a:pt x="684" y="1776"/>
                </a:lnTo>
                <a:lnTo>
                  <a:pt x="683" y="1761"/>
                </a:lnTo>
                <a:lnTo>
                  <a:pt x="680" y="1699"/>
                </a:lnTo>
                <a:lnTo>
                  <a:pt x="679" y="1636"/>
                </a:lnTo>
                <a:lnTo>
                  <a:pt x="678" y="1545"/>
                </a:lnTo>
                <a:lnTo>
                  <a:pt x="678" y="1403"/>
                </a:lnTo>
                <a:lnTo>
                  <a:pt x="678" y="1261"/>
                </a:lnTo>
                <a:lnTo>
                  <a:pt x="678" y="1210"/>
                </a:lnTo>
                <a:lnTo>
                  <a:pt x="679" y="1170"/>
                </a:lnTo>
                <a:lnTo>
                  <a:pt x="680" y="1107"/>
                </a:lnTo>
                <a:lnTo>
                  <a:pt x="683" y="1046"/>
                </a:lnTo>
                <a:lnTo>
                  <a:pt x="685" y="1015"/>
                </a:lnTo>
                <a:lnTo>
                  <a:pt x="688" y="987"/>
                </a:lnTo>
                <a:lnTo>
                  <a:pt x="692" y="964"/>
                </a:lnTo>
                <a:lnTo>
                  <a:pt x="695" y="943"/>
                </a:lnTo>
                <a:lnTo>
                  <a:pt x="700" y="924"/>
                </a:lnTo>
                <a:lnTo>
                  <a:pt x="704" y="908"/>
                </a:lnTo>
                <a:lnTo>
                  <a:pt x="709" y="893"/>
                </a:lnTo>
                <a:lnTo>
                  <a:pt x="714" y="881"/>
                </a:lnTo>
                <a:lnTo>
                  <a:pt x="720" y="866"/>
                </a:lnTo>
                <a:lnTo>
                  <a:pt x="726" y="852"/>
                </a:lnTo>
                <a:lnTo>
                  <a:pt x="734" y="839"/>
                </a:lnTo>
                <a:lnTo>
                  <a:pt x="741" y="827"/>
                </a:lnTo>
                <a:lnTo>
                  <a:pt x="750" y="814"/>
                </a:lnTo>
                <a:lnTo>
                  <a:pt x="758" y="803"/>
                </a:lnTo>
                <a:lnTo>
                  <a:pt x="763" y="797"/>
                </a:lnTo>
                <a:lnTo>
                  <a:pt x="768" y="791"/>
                </a:lnTo>
                <a:lnTo>
                  <a:pt x="779" y="779"/>
                </a:lnTo>
                <a:lnTo>
                  <a:pt x="792" y="768"/>
                </a:lnTo>
                <a:lnTo>
                  <a:pt x="803" y="758"/>
                </a:lnTo>
                <a:lnTo>
                  <a:pt x="814" y="750"/>
                </a:lnTo>
                <a:lnTo>
                  <a:pt x="826" y="741"/>
                </a:lnTo>
                <a:lnTo>
                  <a:pt x="839" y="734"/>
                </a:lnTo>
                <a:lnTo>
                  <a:pt x="852" y="726"/>
                </a:lnTo>
                <a:lnTo>
                  <a:pt x="866" y="720"/>
                </a:lnTo>
                <a:lnTo>
                  <a:pt x="881" y="714"/>
                </a:lnTo>
                <a:lnTo>
                  <a:pt x="893" y="709"/>
                </a:lnTo>
                <a:lnTo>
                  <a:pt x="908" y="704"/>
                </a:lnTo>
                <a:lnTo>
                  <a:pt x="924" y="699"/>
                </a:lnTo>
                <a:lnTo>
                  <a:pt x="943" y="695"/>
                </a:lnTo>
                <a:lnTo>
                  <a:pt x="964" y="692"/>
                </a:lnTo>
                <a:lnTo>
                  <a:pt x="989" y="688"/>
                </a:lnTo>
                <a:lnTo>
                  <a:pt x="1015" y="685"/>
                </a:lnTo>
                <a:lnTo>
                  <a:pt x="1029" y="684"/>
                </a:lnTo>
                <a:lnTo>
                  <a:pt x="1045" y="683"/>
                </a:lnTo>
                <a:lnTo>
                  <a:pt x="1107" y="681"/>
                </a:lnTo>
                <a:lnTo>
                  <a:pt x="1170" y="679"/>
                </a:lnTo>
                <a:lnTo>
                  <a:pt x="1261" y="678"/>
                </a:lnTo>
                <a:lnTo>
                  <a:pt x="1403" y="678"/>
                </a:lnTo>
                <a:close/>
                <a:moveTo>
                  <a:pt x="1403" y="518"/>
                </a:moveTo>
                <a:lnTo>
                  <a:pt x="1258" y="518"/>
                </a:lnTo>
                <a:lnTo>
                  <a:pt x="1208" y="520"/>
                </a:lnTo>
                <a:lnTo>
                  <a:pt x="1165" y="520"/>
                </a:lnTo>
                <a:lnTo>
                  <a:pt x="1101" y="521"/>
                </a:lnTo>
                <a:lnTo>
                  <a:pt x="1038" y="523"/>
                </a:lnTo>
                <a:lnTo>
                  <a:pt x="1005" y="526"/>
                </a:lnTo>
                <a:lnTo>
                  <a:pt x="972" y="530"/>
                </a:lnTo>
                <a:lnTo>
                  <a:pt x="944" y="533"/>
                </a:lnTo>
                <a:lnTo>
                  <a:pt x="917" y="538"/>
                </a:lnTo>
                <a:lnTo>
                  <a:pt x="892" y="543"/>
                </a:lnTo>
                <a:lnTo>
                  <a:pt x="880" y="547"/>
                </a:lnTo>
                <a:lnTo>
                  <a:pt x="867" y="549"/>
                </a:lnTo>
                <a:lnTo>
                  <a:pt x="845" y="557"/>
                </a:lnTo>
                <a:lnTo>
                  <a:pt x="824" y="565"/>
                </a:lnTo>
                <a:lnTo>
                  <a:pt x="802" y="574"/>
                </a:lnTo>
                <a:lnTo>
                  <a:pt x="782" y="584"/>
                </a:lnTo>
                <a:lnTo>
                  <a:pt x="772" y="589"/>
                </a:lnTo>
                <a:lnTo>
                  <a:pt x="762" y="594"/>
                </a:lnTo>
                <a:lnTo>
                  <a:pt x="742" y="606"/>
                </a:lnTo>
                <a:lnTo>
                  <a:pt x="723" y="619"/>
                </a:lnTo>
                <a:lnTo>
                  <a:pt x="714" y="626"/>
                </a:lnTo>
                <a:lnTo>
                  <a:pt x="704" y="633"/>
                </a:lnTo>
                <a:lnTo>
                  <a:pt x="685" y="650"/>
                </a:lnTo>
                <a:lnTo>
                  <a:pt x="667" y="667"/>
                </a:lnTo>
                <a:lnTo>
                  <a:pt x="650" y="685"/>
                </a:lnTo>
                <a:lnTo>
                  <a:pt x="633" y="704"/>
                </a:lnTo>
                <a:lnTo>
                  <a:pt x="619" y="723"/>
                </a:lnTo>
                <a:lnTo>
                  <a:pt x="612" y="732"/>
                </a:lnTo>
                <a:lnTo>
                  <a:pt x="606" y="742"/>
                </a:lnTo>
                <a:lnTo>
                  <a:pt x="594" y="761"/>
                </a:lnTo>
                <a:lnTo>
                  <a:pt x="584" y="782"/>
                </a:lnTo>
                <a:lnTo>
                  <a:pt x="574" y="802"/>
                </a:lnTo>
                <a:lnTo>
                  <a:pt x="565" y="824"/>
                </a:lnTo>
                <a:lnTo>
                  <a:pt x="557" y="845"/>
                </a:lnTo>
                <a:lnTo>
                  <a:pt x="551" y="867"/>
                </a:lnTo>
                <a:lnTo>
                  <a:pt x="543" y="891"/>
                </a:lnTo>
                <a:lnTo>
                  <a:pt x="541" y="904"/>
                </a:lnTo>
                <a:lnTo>
                  <a:pt x="538" y="917"/>
                </a:lnTo>
                <a:lnTo>
                  <a:pt x="533" y="944"/>
                </a:lnTo>
                <a:lnTo>
                  <a:pt x="530" y="973"/>
                </a:lnTo>
                <a:lnTo>
                  <a:pt x="526" y="1005"/>
                </a:lnTo>
                <a:lnTo>
                  <a:pt x="523" y="1038"/>
                </a:lnTo>
                <a:lnTo>
                  <a:pt x="521" y="1101"/>
                </a:lnTo>
                <a:lnTo>
                  <a:pt x="520" y="1166"/>
                </a:lnTo>
                <a:lnTo>
                  <a:pt x="518" y="1258"/>
                </a:lnTo>
                <a:lnTo>
                  <a:pt x="518" y="1403"/>
                </a:lnTo>
                <a:lnTo>
                  <a:pt x="518" y="1548"/>
                </a:lnTo>
                <a:lnTo>
                  <a:pt x="520" y="1599"/>
                </a:lnTo>
                <a:lnTo>
                  <a:pt x="520" y="1639"/>
                </a:lnTo>
                <a:lnTo>
                  <a:pt x="521" y="1705"/>
                </a:lnTo>
                <a:lnTo>
                  <a:pt x="523" y="1768"/>
                </a:lnTo>
                <a:lnTo>
                  <a:pt x="526" y="1801"/>
                </a:lnTo>
                <a:lnTo>
                  <a:pt x="530" y="1832"/>
                </a:lnTo>
                <a:lnTo>
                  <a:pt x="533" y="1862"/>
                </a:lnTo>
                <a:lnTo>
                  <a:pt x="538" y="1889"/>
                </a:lnTo>
                <a:lnTo>
                  <a:pt x="543" y="1914"/>
                </a:lnTo>
                <a:lnTo>
                  <a:pt x="547" y="1926"/>
                </a:lnTo>
                <a:lnTo>
                  <a:pt x="551" y="1938"/>
                </a:lnTo>
                <a:lnTo>
                  <a:pt x="557" y="1961"/>
                </a:lnTo>
                <a:lnTo>
                  <a:pt x="565" y="1982"/>
                </a:lnTo>
                <a:lnTo>
                  <a:pt x="574" y="2003"/>
                </a:lnTo>
                <a:lnTo>
                  <a:pt x="584" y="2024"/>
                </a:lnTo>
                <a:lnTo>
                  <a:pt x="589" y="2034"/>
                </a:lnTo>
                <a:lnTo>
                  <a:pt x="594" y="2044"/>
                </a:lnTo>
                <a:lnTo>
                  <a:pt x="606" y="2064"/>
                </a:lnTo>
                <a:lnTo>
                  <a:pt x="619" y="2084"/>
                </a:lnTo>
                <a:lnTo>
                  <a:pt x="626" y="2092"/>
                </a:lnTo>
                <a:lnTo>
                  <a:pt x="633" y="2102"/>
                </a:lnTo>
                <a:lnTo>
                  <a:pt x="641" y="2111"/>
                </a:lnTo>
                <a:lnTo>
                  <a:pt x="650" y="2121"/>
                </a:lnTo>
                <a:lnTo>
                  <a:pt x="667" y="2139"/>
                </a:lnTo>
                <a:lnTo>
                  <a:pt x="685" y="2157"/>
                </a:lnTo>
                <a:lnTo>
                  <a:pt x="704" y="2173"/>
                </a:lnTo>
                <a:lnTo>
                  <a:pt x="723" y="2186"/>
                </a:lnTo>
                <a:lnTo>
                  <a:pt x="732" y="2194"/>
                </a:lnTo>
                <a:lnTo>
                  <a:pt x="742" y="2200"/>
                </a:lnTo>
                <a:lnTo>
                  <a:pt x="762" y="2211"/>
                </a:lnTo>
                <a:lnTo>
                  <a:pt x="782" y="2222"/>
                </a:lnTo>
                <a:lnTo>
                  <a:pt x="802" y="2232"/>
                </a:lnTo>
                <a:lnTo>
                  <a:pt x="824" y="2241"/>
                </a:lnTo>
                <a:lnTo>
                  <a:pt x="845" y="2248"/>
                </a:lnTo>
                <a:lnTo>
                  <a:pt x="867" y="2256"/>
                </a:lnTo>
                <a:lnTo>
                  <a:pt x="892" y="2262"/>
                </a:lnTo>
                <a:lnTo>
                  <a:pt x="904" y="2265"/>
                </a:lnTo>
                <a:lnTo>
                  <a:pt x="917" y="2268"/>
                </a:lnTo>
                <a:lnTo>
                  <a:pt x="944" y="2273"/>
                </a:lnTo>
                <a:lnTo>
                  <a:pt x="972" y="2277"/>
                </a:lnTo>
                <a:lnTo>
                  <a:pt x="1005" y="2280"/>
                </a:lnTo>
                <a:lnTo>
                  <a:pt x="1038" y="2282"/>
                </a:lnTo>
                <a:lnTo>
                  <a:pt x="1101" y="2284"/>
                </a:lnTo>
                <a:lnTo>
                  <a:pt x="1165" y="2287"/>
                </a:lnTo>
                <a:lnTo>
                  <a:pt x="1258" y="2287"/>
                </a:lnTo>
                <a:lnTo>
                  <a:pt x="1403" y="2288"/>
                </a:lnTo>
                <a:lnTo>
                  <a:pt x="1548" y="2287"/>
                </a:lnTo>
                <a:lnTo>
                  <a:pt x="1599" y="2287"/>
                </a:lnTo>
                <a:lnTo>
                  <a:pt x="1641" y="2287"/>
                </a:lnTo>
                <a:lnTo>
                  <a:pt x="1705" y="2284"/>
                </a:lnTo>
                <a:lnTo>
                  <a:pt x="1768" y="2282"/>
                </a:lnTo>
                <a:lnTo>
                  <a:pt x="1801" y="2280"/>
                </a:lnTo>
                <a:lnTo>
                  <a:pt x="1834" y="2277"/>
                </a:lnTo>
                <a:lnTo>
                  <a:pt x="1862" y="2273"/>
                </a:lnTo>
                <a:lnTo>
                  <a:pt x="1889" y="2268"/>
                </a:lnTo>
                <a:lnTo>
                  <a:pt x="1914" y="2262"/>
                </a:lnTo>
                <a:lnTo>
                  <a:pt x="1926" y="2259"/>
                </a:lnTo>
                <a:lnTo>
                  <a:pt x="1939" y="2256"/>
                </a:lnTo>
                <a:lnTo>
                  <a:pt x="1961" y="2248"/>
                </a:lnTo>
                <a:lnTo>
                  <a:pt x="1982" y="2241"/>
                </a:lnTo>
                <a:lnTo>
                  <a:pt x="2004" y="2232"/>
                </a:lnTo>
                <a:lnTo>
                  <a:pt x="2024" y="2222"/>
                </a:lnTo>
                <a:lnTo>
                  <a:pt x="2034" y="2217"/>
                </a:lnTo>
                <a:lnTo>
                  <a:pt x="2044" y="2211"/>
                </a:lnTo>
                <a:lnTo>
                  <a:pt x="2064" y="2200"/>
                </a:lnTo>
                <a:lnTo>
                  <a:pt x="2084" y="2186"/>
                </a:lnTo>
                <a:lnTo>
                  <a:pt x="2092" y="2180"/>
                </a:lnTo>
                <a:lnTo>
                  <a:pt x="2102" y="2173"/>
                </a:lnTo>
                <a:lnTo>
                  <a:pt x="2121" y="2157"/>
                </a:lnTo>
                <a:lnTo>
                  <a:pt x="2139" y="2139"/>
                </a:lnTo>
                <a:lnTo>
                  <a:pt x="2157" y="2121"/>
                </a:lnTo>
                <a:lnTo>
                  <a:pt x="2173" y="2102"/>
                </a:lnTo>
                <a:lnTo>
                  <a:pt x="2187" y="2084"/>
                </a:lnTo>
                <a:lnTo>
                  <a:pt x="2194" y="2074"/>
                </a:lnTo>
                <a:lnTo>
                  <a:pt x="2200" y="2064"/>
                </a:lnTo>
                <a:lnTo>
                  <a:pt x="2212" y="2044"/>
                </a:lnTo>
                <a:lnTo>
                  <a:pt x="2222" y="2024"/>
                </a:lnTo>
                <a:lnTo>
                  <a:pt x="2232" y="2003"/>
                </a:lnTo>
                <a:lnTo>
                  <a:pt x="2241" y="1982"/>
                </a:lnTo>
                <a:lnTo>
                  <a:pt x="2249" y="1961"/>
                </a:lnTo>
                <a:lnTo>
                  <a:pt x="2256" y="1938"/>
                </a:lnTo>
                <a:lnTo>
                  <a:pt x="2263" y="1914"/>
                </a:lnTo>
                <a:lnTo>
                  <a:pt x="2265" y="1902"/>
                </a:lnTo>
                <a:lnTo>
                  <a:pt x="2268" y="1889"/>
                </a:lnTo>
                <a:lnTo>
                  <a:pt x="2273" y="1862"/>
                </a:lnTo>
                <a:lnTo>
                  <a:pt x="2277" y="1832"/>
                </a:lnTo>
                <a:lnTo>
                  <a:pt x="2280" y="1801"/>
                </a:lnTo>
                <a:lnTo>
                  <a:pt x="2281" y="1768"/>
                </a:lnTo>
                <a:lnTo>
                  <a:pt x="2285" y="1705"/>
                </a:lnTo>
                <a:lnTo>
                  <a:pt x="2286" y="1639"/>
                </a:lnTo>
                <a:lnTo>
                  <a:pt x="2288" y="1548"/>
                </a:lnTo>
                <a:lnTo>
                  <a:pt x="2288" y="1403"/>
                </a:lnTo>
                <a:lnTo>
                  <a:pt x="2288" y="1258"/>
                </a:lnTo>
                <a:lnTo>
                  <a:pt x="2286" y="1206"/>
                </a:lnTo>
                <a:lnTo>
                  <a:pt x="2286" y="1166"/>
                </a:lnTo>
                <a:lnTo>
                  <a:pt x="2285" y="1101"/>
                </a:lnTo>
                <a:lnTo>
                  <a:pt x="2281" y="1038"/>
                </a:lnTo>
                <a:lnTo>
                  <a:pt x="2280" y="1005"/>
                </a:lnTo>
                <a:lnTo>
                  <a:pt x="2277" y="973"/>
                </a:lnTo>
                <a:lnTo>
                  <a:pt x="2273" y="944"/>
                </a:lnTo>
                <a:lnTo>
                  <a:pt x="2268" y="917"/>
                </a:lnTo>
                <a:lnTo>
                  <a:pt x="2263" y="891"/>
                </a:lnTo>
                <a:lnTo>
                  <a:pt x="2259" y="880"/>
                </a:lnTo>
                <a:lnTo>
                  <a:pt x="2256" y="867"/>
                </a:lnTo>
                <a:lnTo>
                  <a:pt x="2249" y="845"/>
                </a:lnTo>
                <a:lnTo>
                  <a:pt x="2241" y="824"/>
                </a:lnTo>
                <a:lnTo>
                  <a:pt x="2232" y="802"/>
                </a:lnTo>
                <a:lnTo>
                  <a:pt x="2222" y="782"/>
                </a:lnTo>
                <a:lnTo>
                  <a:pt x="2217" y="771"/>
                </a:lnTo>
                <a:lnTo>
                  <a:pt x="2212" y="761"/>
                </a:lnTo>
                <a:lnTo>
                  <a:pt x="2200" y="742"/>
                </a:lnTo>
                <a:lnTo>
                  <a:pt x="2187" y="723"/>
                </a:lnTo>
                <a:lnTo>
                  <a:pt x="2180" y="714"/>
                </a:lnTo>
                <a:lnTo>
                  <a:pt x="2173" y="704"/>
                </a:lnTo>
                <a:lnTo>
                  <a:pt x="2165" y="694"/>
                </a:lnTo>
                <a:lnTo>
                  <a:pt x="2157" y="685"/>
                </a:lnTo>
                <a:lnTo>
                  <a:pt x="2139" y="667"/>
                </a:lnTo>
                <a:lnTo>
                  <a:pt x="2121" y="650"/>
                </a:lnTo>
                <a:lnTo>
                  <a:pt x="2102" y="633"/>
                </a:lnTo>
                <a:lnTo>
                  <a:pt x="2084" y="619"/>
                </a:lnTo>
                <a:lnTo>
                  <a:pt x="2074" y="612"/>
                </a:lnTo>
                <a:lnTo>
                  <a:pt x="2064" y="606"/>
                </a:lnTo>
                <a:lnTo>
                  <a:pt x="2044" y="594"/>
                </a:lnTo>
                <a:lnTo>
                  <a:pt x="2024" y="584"/>
                </a:lnTo>
                <a:lnTo>
                  <a:pt x="2004" y="574"/>
                </a:lnTo>
                <a:lnTo>
                  <a:pt x="1982" y="565"/>
                </a:lnTo>
                <a:lnTo>
                  <a:pt x="1961" y="557"/>
                </a:lnTo>
                <a:lnTo>
                  <a:pt x="1939" y="549"/>
                </a:lnTo>
                <a:lnTo>
                  <a:pt x="1914" y="543"/>
                </a:lnTo>
                <a:lnTo>
                  <a:pt x="1902" y="541"/>
                </a:lnTo>
                <a:lnTo>
                  <a:pt x="1889" y="538"/>
                </a:lnTo>
                <a:lnTo>
                  <a:pt x="1862" y="533"/>
                </a:lnTo>
                <a:lnTo>
                  <a:pt x="1834" y="530"/>
                </a:lnTo>
                <a:lnTo>
                  <a:pt x="1801" y="526"/>
                </a:lnTo>
                <a:lnTo>
                  <a:pt x="1768" y="523"/>
                </a:lnTo>
                <a:lnTo>
                  <a:pt x="1705" y="521"/>
                </a:lnTo>
                <a:lnTo>
                  <a:pt x="1641" y="520"/>
                </a:lnTo>
                <a:lnTo>
                  <a:pt x="1548" y="518"/>
                </a:lnTo>
                <a:lnTo>
                  <a:pt x="1403" y="518"/>
                </a:lnTo>
                <a:close/>
                <a:moveTo>
                  <a:pt x="1403" y="949"/>
                </a:moveTo>
                <a:lnTo>
                  <a:pt x="1380" y="949"/>
                </a:lnTo>
                <a:lnTo>
                  <a:pt x="1356" y="951"/>
                </a:lnTo>
                <a:lnTo>
                  <a:pt x="1334" y="954"/>
                </a:lnTo>
                <a:lnTo>
                  <a:pt x="1311" y="958"/>
                </a:lnTo>
                <a:lnTo>
                  <a:pt x="1289" y="963"/>
                </a:lnTo>
                <a:lnTo>
                  <a:pt x="1268" y="969"/>
                </a:lnTo>
                <a:lnTo>
                  <a:pt x="1247" y="976"/>
                </a:lnTo>
                <a:lnTo>
                  <a:pt x="1226" y="985"/>
                </a:lnTo>
                <a:lnTo>
                  <a:pt x="1206" y="994"/>
                </a:lnTo>
                <a:lnTo>
                  <a:pt x="1187" y="1003"/>
                </a:lnTo>
                <a:lnTo>
                  <a:pt x="1168" y="1015"/>
                </a:lnTo>
                <a:lnTo>
                  <a:pt x="1149" y="1027"/>
                </a:lnTo>
                <a:lnTo>
                  <a:pt x="1131" y="1039"/>
                </a:lnTo>
                <a:lnTo>
                  <a:pt x="1115" y="1053"/>
                </a:lnTo>
                <a:lnTo>
                  <a:pt x="1097" y="1067"/>
                </a:lnTo>
                <a:lnTo>
                  <a:pt x="1081" y="1081"/>
                </a:lnTo>
                <a:lnTo>
                  <a:pt x="1067" y="1097"/>
                </a:lnTo>
                <a:lnTo>
                  <a:pt x="1053" y="1114"/>
                </a:lnTo>
                <a:lnTo>
                  <a:pt x="1039" y="1131"/>
                </a:lnTo>
                <a:lnTo>
                  <a:pt x="1027" y="1149"/>
                </a:lnTo>
                <a:lnTo>
                  <a:pt x="1015" y="1168"/>
                </a:lnTo>
                <a:lnTo>
                  <a:pt x="1003" y="1187"/>
                </a:lnTo>
                <a:lnTo>
                  <a:pt x="994" y="1206"/>
                </a:lnTo>
                <a:lnTo>
                  <a:pt x="985" y="1226"/>
                </a:lnTo>
                <a:lnTo>
                  <a:pt x="976" y="1247"/>
                </a:lnTo>
                <a:lnTo>
                  <a:pt x="969" y="1268"/>
                </a:lnTo>
                <a:lnTo>
                  <a:pt x="963" y="1289"/>
                </a:lnTo>
                <a:lnTo>
                  <a:pt x="960" y="1300"/>
                </a:lnTo>
                <a:lnTo>
                  <a:pt x="958" y="1312"/>
                </a:lnTo>
                <a:lnTo>
                  <a:pt x="954" y="1334"/>
                </a:lnTo>
                <a:lnTo>
                  <a:pt x="951" y="1356"/>
                </a:lnTo>
                <a:lnTo>
                  <a:pt x="949" y="1380"/>
                </a:lnTo>
                <a:lnTo>
                  <a:pt x="949" y="1403"/>
                </a:lnTo>
                <a:lnTo>
                  <a:pt x="949" y="1427"/>
                </a:lnTo>
                <a:lnTo>
                  <a:pt x="951" y="1449"/>
                </a:lnTo>
                <a:lnTo>
                  <a:pt x="954" y="1472"/>
                </a:lnTo>
                <a:lnTo>
                  <a:pt x="958" y="1495"/>
                </a:lnTo>
                <a:lnTo>
                  <a:pt x="963" y="1517"/>
                </a:lnTo>
                <a:lnTo>
                  <a:pt x="969" y="1538"/>
                </a:lnTo>
                <a:lnTo>
                  <a:pt x="976" y="1559"/>
                </a:lnTo>
                <a:lnTo>
                  <a:pt x="985" y="1580"/>
                </a:lnTo>
                <a:lnTo>
                  <a:pt x="994" y="1600"/>
                </a:lnTo>
                <a:lnTo>
                  <a:pt x="1003" y="1620"/>
                </a:lnTo>
                <a:lnTo>
                  <a:pt x="1015" y="1638"/>
                </a:lnTo>
                <a:lnTo>
                  <a:pt x="1027" y="1657"/>
                </a:lnTo>
                <a:lnTo>
                  <a:pt x="1039" y="1674"/>
                </a:lnTo>
                <a:lnTo>
                  <a:pt x="1053" y="1691"/>
                </a:lnTo>
                <a:lnTo>
                  <a:pt x="1067" y="1709"/>
                </a:lnTo>
                <a:lnTo>
                  <a:pt x="1081" y="1724"/>
                </a:lnTo>
                <a:lnTo>
                  <a:pt x="1097" y="1740"/>
                </a:lnTo>
                <a:lnTo>
                  <a:pt x="1115" y="1753"/>
                </a:lnTo>
                <a:lnTo>
                  <a:pt x="1131" y="1767"/>
                </a:lnTo>
                <a:lnTo>
                  <a:pt x="1149" y="1779"/>
                </a:lnTo>
                <a:lnTo>
                  <a:pt x="1168" y="1792"/>
                </a:lnTo>
                <a:lnTo>
                  <a:pt x="1187" y="1803"/>
                </a:lnTo>
                <a:lnTo>
                  <a:pt x="1206" y="1813"/>
                </a:lnTo>
                <a:lnTo>
                  <a:pt x="1226" y="1821"/>
                </a:lnTo>
                <a:lnTo>
                  <a:pt x="1247" y="1830"/>
                </a:lnTo>
                <a:lnTo>
                  <a:pt x="1268" y="1836"/>
                </a:lnTo>
                <a:lnTo>
                  <a:pt x="1289" y="1842"/>
                </a:lnTo>
                <a:lnTo>
                  <a:pt x="1300" y="1846"/>
                </a:lnTo>
                <a:lnTo>
                  <a:pt x="1311" y="1847"/>
                </a:lnTo>
                <a:lnTo>
                  <a:pt x="1334" y="1852"/>
                </a:lnTo>
                <a:lnTo>
                  <a:pt x="1356" y="1855"/>
                </a:lnTo>
                <a:lnTo>
                  <a:pt x="1380" y="1856"/>
                </a:lnTo>
                <a:lnTo>
                  <a:pt x="1403" y="1857"/>
                </a:lnTo>
                <a:lnTo>
                  <a:pt x="1427" y="1856"/>
                </a:lnTo>
                <a:lnTo>
                  <a:pt x="1450" y="1855"/>
                </a:lnTo>
                <a:lnTo>
                  <a:pt x="1472" y="1852"/>
                </a:lnTo>
                <a:lnTo>
                  <a:pt x="1495" y="1847"/>
                </a:lnTo>
                <a:lnTo>
                  <a:pt x="1517" y="1842"/>
                </a:lnTo>
                <a:lnTo>
                  <a:pt x="1538" y="1836"/>
                </a:lnTo>
                <a:lnTo>
                  <a:pt x="1559" y="1830"/>
                </a:lnTo>
                <a:lnTo>
                  <a:pt x="1580" y="1821"/>
                </a:lnTo>
                <a:lnTo>
                  <a:pt x="1600" y="1813"/>
                </a:lnTo>
                <a:lnTo>
                  <a:pt x="1620" y="1803"/>
                </a:lnTo>
                <a:lnTo>
                  <a:pt x="1638" y="1792"/>
                </a:lnTo>
                <a:lnTo>
                  <a:pt x="1657" y="1779"/>
                </a:lnTo>
                <a:lnTo>
                  <a:pt x="1675" y="1767"/>
                </a:lnTo>
                <a:lnTo>
                  <a:pt x="1691" y="1753"/>
                </a:lnTo>
                <a:lnTo>
                  <a:pt x="1709" y="1740"/>
                </a:lnTo>
                <a:lnTo>
                  <a:pt x="1725" y="1724"/>
                </a:lnTo>
                <a:lnTo>
                  <a:pt x="1740" y="1709"/>
                </a:lnTo>
                <a:lnTo>
                  <a:pt x="1753" y="1691"/>
                </a:lnTo>
                <a:lnTo>
                  <a:pt x="1767" y="1674"/>
                </a:lnTo>
                <a:lnTo>
                  <a:pt x="1779" y="1657"/>
                </a:lnTo>
                <a:lnTo>
                  <a:pt x="1792" y="1638"/>
                </a:lnTo>
                <a:lnTo>
                  <a:pt x="1803" y="1620"/>
                </a:lnTo>
                <a:lnTo>
                  <a:pt x="1813" y="1600"/>
                </a:lnTo>
                <a:lnTo>
                  <a:pt x="1821" y="1580"/>
                </a:lnTo>
                <a:lnTo>
                  <a:pt x="1830" y="1559"/>
                </a:lnTo>
                <a:lnTo>
                  <a:pt x="1837" y="1538"/>
                </a:lnTo>
                <a:lnTo>
                  <a:pt x="1842" y="1517"/>
                </a:lnTo>
                <a:lnTo>
                  <a:pt x="1846" y="1506"/>
                </a:lnTo>
                <a:lnTo>
                  <a:pt x="1848" y="1495"/>
                </a:lnTo>
                <a:lnTo>
                  <a:pt x="1852" y="1472"/>
                </a:lnTo>
                <a:lnTo>
                  <a:pt x="1855" y="1449"/>
                </a:lnTo>
                <a:lnTo>
                  <a:pt x="1857" y="1427"/>
                </a:lnTo>
                <a:lnTo>
                  <a:pt x="1857" y="1403"/>
                </a:lnTo>
                <a:lnTo>
                  <a:pt x="1857" y="1380"/>
                </a:lnTo>
                <a:lnTo>
                  <a:pt x="1855" y="1356"/>
                </a:lnTo>
                <a:lnTo>
                  <a:pt x="1852" y="1334"/>
                </a:lnTo>
                <a:lnTo>
                  <a:pt x="1848" y="1312"/>
                </a:lnTo>
                <a:lnTo>
                  <a:pt x="1842" y="1289"/>
                </a:lnTo>
                <a:lnTo>
                  <a:pt x="1837" y="1268"/>
                </a:lnTo>
                <a:lnTo>
                  <a:pt x="1830" y="1247"/>
                </a:lnTo>
                <a:lnTo>
                  <a:pt x="1821" y="1226"/>
                </a:lnTo>
                <a:lnTo>
                  <a:pt x="1813" y="1206"/>
                </a:lnTo>
                <a:lnTo>
                  <a:pt x="1803" y="1187"/>
                </a:lnTo>
                <a:lnTo>
                  <a:pt x="1792" y="1168"/>
                </a:lnTo>
                <a:lnTo>
                  <a:pt x="1779" y="1149"/>
                </a:lnTo>
                <a:lnTo>
                  <a:pt x="1767" y="1131"/>
                </a:lnTo>
                <a:lnTo>
                  <a:pt x="1753" y="1114"/>
                </a:lnTo>
                <a:lnTo>
                  <a:pt x="1740" y="1097"/>
                </a:lnTo>
                <a:lnTo>
                  <a:pt x="1725" y="1081"/>
                </a:lnTo>
                <a:lnTo>
                  <a:pt x="1709" y="1067"/>
                </a:lnTo>
                <a:lnTo>
                  <a:pt x="1691" y="1053"/>
                </a:lnTo>
                <a:lnTo>
                  <a:pt x="1675" y="1039"/>
                </a:lnTo>
                <a:lnTo>
                  <a:pt x="1657" y="1027"/>
                </a:lnTo>
                <a:lnTo>
                  <a:pt x="1638" y="1015"/>
                </a:lnTo>
                <a:lnTo>
                  <a:pt x="1620" y="1003"/>
                </a:lnTo>
                <a:lnTo>
                  <a:pt x="1600" y="994"/>
                </a:lnTo>
                <a:lnTo>
                  <a:pt x="1580" y="985"/>
                </a:lnTo>
                <a:lnTo>
                  <a:pt x="1559" y="976"/>
                </a:lnTo>
                <a:lnTo>
                  <a:pt x="1538" y="969"/>
                </a:lnTo>
                <a:lnTo>
                  <a:pt x="1517" y="963"/>
                </a:lnTo>
                <a:lnTo>
                  <a:pt x="1506" y="960"/>
                </a:lnTo>
                <a:lnTo>
                  <a:pt x="1495" y="958"/>
                </a:lnTo>
                <a:lnTo>
                  <a:pt x="1472" y="954"/>
                </a:lnTo>
                <a:lnTo>
                  <a:pt x="1450" y="951"/>
                </a:lnTo>
                <a:lnTo>
                  <a:pt x="1427" y="949"/>
                </a:lnTo>
                <a:lnTo>
                  <a:pt x="1403" y="949"/>
                </a:lnTo>
                <a:close/>
                <a:moveTo>
                  <a:pt x="1403" y="1698"/>
                </a:moveTo>
                <a:lnTo>
                  <a:pt x="1388" y="1698"/>
                </a:lnTo>
                <a:lnTo>
                  <a:pt x="1373" y="1696"/>
                </a:lnTo>
                <a:lnTo>
                  <a:pt x="1359" y="1694"/>
                </a:lnTo>
                <a:lnTo>
                  <a:pt x="1344" y="1691"/>
                </a:lnTo>
                <a:lnTo>
                  <a:pt x="1329" y="1689"/>
                </a:lnTo>
                <a:lnTo>
                  <a:pt x="1315" y="1684"/>
                </a:lnTo>
                <a:lnTo>
                  <a:pt x="1302" y="1680"/>
                </a:lnTo>
                <a:lnTo>
                  <a:pt x="1288" y="1674"/>
                </a:lnTo>
                <a:lnTo>
                  <a:pt x="1276" y="1669"/>
                </a:lnTo>
                <a:lnTo>
                  <a:pt x="1262" y="1662"/>
                </a:lnTo>
                <a:lnTo>
                  <a:pt x="1250" y="1655"/>
                </a:lnTo>
                <a:lnTo>
                  <a:pt x="1238" y="1647"/>
                </a:lnTo>
                <a:lnTo>
                  <a:pt x="1226" y="1639"/>
                </a:lnTo>
                <a:lnTo>
                  <a:pt x="1215" y="1631"/>
                </a:lnTo>
                <a:lnTo>
                  <a:pt x="1205" y="1621"/>
                </a:lnTo>
                <a:lnTo>
                  <a:pt x="1195" y="1611"/>
                </a:lnTo>
                <a:lnTo>
                  <a:pt x="1185" y="1601"/>
                </a:lnTo>
                <a:lnTo>
                  <a:pt x="1175" y="1590"/>
                </a:lnTo>
                <a:lnTo>
                  <a:pt x="1167" y="1579"/>
                </a:lnTo>
                <a:lnTo>
                  <a:pt x="1158" y="1568"/>
                </a:lnTo>
                <a:lnTo>
                  <a:pt x="1151" y="1555"/>
                </a:lnTo>
                <a:lnTo>
                  <a:pt x="1143" y="1543"/>
                </a:lnTo>
                <a:lnTo>
                  <a:pt x="1137" y="1531"/>
                </a:lnTo>
                <a:lnTo>
                  <a:pt x="1131" y="1518"/>
                </a:lnTo>
                <a:lnTo>
                  <a:pt x="1126" y="1505"/>
                </a:lnTo>
                <a:lnTo>
                  <a:pt x="1121" y="1491"/>
                </a:lnTo>
                <a:lnTo>
                  <a:pt x="1117" y="1476"/>
                </a:lnTo>
                <a:lnTo>
                  <a:pt x="1115" y="1462"/>
                </a:lnTo>
                <a:lnTo>
                  <a:pt x="1111" y="1448"/>
                </a:lnTo>
                <a:lnTo>
                  <a:pt x="1110" y="1433"/>
                </a:lnTo>
                <a:lnTo>
                  <a:pt x="1109" y="1418"/>
                </a:lnTo>
                <a:lnTo>
                  <a:pt x="1109" y="1403"/>
                </a:lnTo>
                <a:lnTo>
                  <a:pt x="1109" y="1388"/>
                </a:lnTo>
                <a:lnTo>
                  <a:pt x="1110" y="1373"/>
                </a:lnTo>
                <a:lnTo>
                  <a:pt x="1111" y="1359"/>
                </a:lnTo>
                <a:lnTo>
                  <a:pt x="1115" y="1344"/>
                </a:lnTo>
                <a:lnTo>
                  <a:pt x="1117" y="1329"/>
                </a:lnTo>
                <a:lnTo>
                  <a:pt x="1121" y="1315"/>
                </a:lnTo>
                <a:lnTo>
                  <a:pt x="1126" y="1302"/>
                </a:lnTo>
                <a:lnTo>
                  <a:pt x="1131" y="1288"/>
                </a:lnTo>
                <a:lnTo>
                  <a:pt x="1137" y="1276"/>
                </a:lnTo>
                <a:lnTo>
                  <a:pt x="1143" y="1262"/>
                </a:lnTo>
                <a:lnTo>
                  <a:pt x="1151" y="1250"/>
                </a:lnTo>
                <a:lnTo>
                  <a:pt x="1158" y="1239"/>
                </a:lnTo>
                <a:lnTo>
                  <a:pt x="1167" y="1226"/>
                </a:lnTo>
                <a:lnTo>
                  <a:pt x="1175" y="1215"/>
                </a:lnTo>
                <a:lnTo>
                  <a:pt x="1185" y="1205"/>
                </a:lnTo>
                <a:lnTo>
                  <a:pt x="1195" y="1194"/>
                </a:lnTo>
                <a:lnTo>
                  <a:pt x="1205" y="1185"/>
                </a:lnTo>
                <a:lnTo>
                  <a:pt x="1215" y="1175"/>
                </a:lnTo>
                <a:lnTo>
                  <a:pt x="1226" y="1167"/>
                </a:lnTo>
                <a:lnTo>
                  <a:pt x="1238" y="1158"/>
                </a:lnTo>
                <a:lnTo>
                  <a:pt x="1250" y="1151"/>
                </a:lnTo>
                <a:lnTo>
                  <a:pt x="1262" y="1143"/>
                </a:lnTo>
                <a:lnTo>
                  <a:pt x="1276" y="1137"/>
                </a:lnTo>
                <a:lnTo>
                  <a:pt x="1288" y="1131"/>
                </a:lnTo>
                <a:lnTo>
                  <a:pt x="1302" y="1126"/>
                </a:lnTo>
                <a:lnTo>
                  <a:pt x="1315" y="1121"/>
                </a:lnTo>
                <a:lnTo>
                  <a:pt x="1329" y="1117"/>
                </a:lnTo>
                <a:lnTo>
                  <a:pt x="1344" y="1114"/>
                </a:lnTo>
                <a:lnTo>
                  <a:pt x="1359" y="1111"/>
                </a:lnTo>
                <a:lnTo>
                  <a:pt x="1373" y="1110"/>
                </a:lnTo>
                <a:lnTo>
                  <a:pt x="1388" y="1109"/>
                </a:lnTo>
                <a:lnTo>
                  <a:pt x="1403" y="1109"/>
                </a:lnTo>
                <a:lnTo>
                  <a:pt x="1418" y="1109"/>
                </a:lnTo>
                <a:lnTo>
                  <a:pt x="1433" y="1110"/>
                </a:lnTo>
                <a:lnTo>
                  <a:pt x="1448" y="1111"/>
                </a:lnTo>
                <a:lnTo>
                  <a:pt x="1462" y="1114"/>
                </a:lnTo>
                <a:lnTo>
                  <a:pt x="1477" y="1117"/>
                </a:lnTo>
                <a:lnTo>
                  <a:pt x="1491" y="1121"/>
                </a:lnTo>
                <a:lnTo>
                  <a:pt x="1505" y="1126"/>
                </a:lnTo>
                <a:lnTo>
                  <a:pt x="1518" y="1131"/>
                </a:lnTo>
                <a:lnTo>
                  <a:pt x="1530" y="1137"/>
                </a:lnTo>
                <a:lnTo>
                  <a:pt x="1544" y="1143"/>
                </a:lnTo>
                <a:lnTo>
                  <a:pt x="1556" y="1151"/>
                </a:lnTo>
                <a:lnTo>
                  <a:pt x="1568" y="1158"/>
                </a:lnTo>
                <a:lnTo>
                  <a:pt x="1580" y="1167"/>
                </a:lnTo>
                <a:lnTo>
                  <a:pt x="1591" y="1175"/>
                </a:lnTo>
                <a:lnTo>
                  <a:pt x="1601" y="1185"/>
                </a:lnTo>
                <a:lnTo>
                  <a:pt x="1611" y="1194"/>
                </a:lnTo>
                <a:lnTo>
                  <a:pt x="1621" y="1205"/>
                </a:lnTo>
                <a:lnTo>
                  <a:pt x="1631" y="1215"/>
                </a:lnTo>
                <a:lnTo>
                  <a:pt x="1639" y="1226"/>
                </a:lnTo>
                <a:lnTo>
                  <a:pt x="1648" y="1239"/>
                </a:lnTo>
                <a:lnTo>
                  <a:pt x="1655" y="1250"/>
                </a:lnTo>
                <a:lnTo>
                  <a:pt x="1662" y="1262"/>
                </a:lnTo>
                <a:lnTo>
                  <a:pt x="1669" y="1276"/>
                </a:lnTo>
                <a:lnTo>
                  <a:pt x="1675" y="1288"/>
                </a:lnTo>
                <a:lnTo>
                  <a:pt x="1680" y="1302"/>
                </a:lnTo>
                <a:lnTo>
                  <a:pt x="1685" y="1315"/>
                </a:lnTo>
                <a:lnTo>
                  <a:pt x="1689" y="1329"/>
                </a:lnTo>
                <a:lnTo>
                  <a:pt x="1691" y="1344"/>
                </a:lnTo>
                <a:lnTo>
                  <a:pt x="1694" y="1359"/>
                </a:lnTo>
                <a:lnTo>
                  <a:pt x="1696" y="1373"/>
                </a:lnTo>
                <a:lnTo>
                  <a:pt x="1698" y="1388"/>
                </a:lnTo>
                <a:lnTo>
                  <a:pt x="1698" y="1403"/>
                </a:lnTo>
                <a:lnTo>
                  <a:pt x="1698" y="1418"/>
                </a:lnTo>
                <a:lnTo>
                  <a:pt x="1696" y="1433"/>
                </a:lnTo>
                <a:lnTo>
                  <a:pt x="1694" y="1448"/>
                </a:lnTo>
                <a:lnTo>
                  <a:pt x="1691" y="1462"/>
                </a:lnTo>
                <a:lnTo>
                  <a:pt x="1689" y="1476"/>
                </a:lnTo>
                <a:lnTo>
                  <a:pt x="1685" y="1491"/>
                </a:lnTo>
                <a:lnTo>
                  <a:pt x="1680" y="1505"/>
                </a:lnTo>
                <a:lnTo>
                  <a:pt x="1675" y="1518"/>
                </a:lnTo>
                <a:lnTo>
                  <a:pt x="1669" y="1531"/>
                </a:lnTo>
                <a:lnTo>
                  <a:pt x="1662" y="1543"/>
                </a:lnTo>
                <a:lnTo>
                  <a:pt x="1655" y="1555"/>
                </a:lnTo>
                <a:lnTo>
                  <a:pt x="1648" y="1568"/>
                </a:lnTo>
                <a:lnTo>
                  <a:pt x="1639" y="1579"/>
                </a:lnTo>
                <a:lnTo>
                  <a:pt x="1631" y="1590"/>
                </a:lnTo>
                <a:lnTo>
                  <a:pt x="1621" y="1601"/>
                </a:lnTo>
                <a:lnTo>
                  <a:pt x="1611" y="1611"/>
                </a:lnTo>
                <a:lnTo>
                  <a:pt x="1601" y="1621"/>
                </a:lnTo>
                <a:lnTo>
                  <a:pt x="1591" y="1631"/>
                </a:lnTo>
                <a:lnTo>
                  <a:pt x="1580" y="1639"/>
                </a:lnTo>
                <a:lnTo>
                  <a:pt x="1568" y="1647"/>
                </a:lnTo>
                <a:lnTo>
                  <a:pt x="1556" y="1655"/>
                </a:lnTo>
                <a:lnTo>
                  <a:pt x="1544" y="1662"/>
                </a:lnTo>
                <a:lnTo>
                  <a:pt x="1530" y="1669"/>
                </a:lnTo>
                <a:lnTo>
                  <a:pt x="1518" y="1674"/>
                </a:lnTo>
                <a:lnTo>
                  <a:pt x="1505" y="1680"/>
                </a:lnTo>
                <a:lnTo>
                  <a:pt x="1491" y="1684"/>
                </a:lnTo>
                <a:lnTo>
                  <a:pt x="1477" y="1689"/>
                </a:lnTo>
                <a:lnTo>
                  <a:pt x="1462" y="1691"/>
                </a:lnTo>
                <a:lnTo>
                  <a:pt x="1448" y="1694"/>
                </a:lnTo>
                <a:lnTo>
                  <a:pt x="1433" y="1696"/>
                </a:lnTo>
                <a:lnTo>
                  <a:pt x="1418" y="1698"/>
                </a:lnTo>
                <a:lnTo>
                  <a:pt x="1403" y="1698"/>
                </a:lnTo>
                <a:close/>
                <a:moveTo>
                  <a:pt x="1769" y="930"/>
                </a:moveTo>
                <a:lnTo>
                  <a:pt x="1769" y="921"/>
                </a:lnTo>
                <a:lnTo>
                  <a:pt x="1772" y="909"/>
                </a:lnTo>
                <a:lnTo>
                  <a:pt x="1774" y="900"/>
                </a:lnTo>
                <a:lnTo>
                  <a:pt x="1778" y="890"/>
                </a:lnTo>
                <a:lnTo>
                  <a:pt x="1782" y="880"/>
                </a:lnTo>
                <a:lnTo>
                  <a:pt x="1787" y="871"/>
                </a:lnTo>
                <a:lnTo>
                  <a:pt x="1793" y="864"/>
                </a:lnTo>
                <a:lnTo>
                  <a:pt x="1796" y="860"/>
                </a:lnTo>
                <a:lnTo>
                  <a:pt x="1800" y="856"/>
                </a:lnTo>
                <a:lnTo>
                  <a:pt x="1808" y="849"/>
                </a:lnTo>
                <a:lnTo>
                  <a:pt x="1816" y="843"/>
                </a:lnTo>
                <a:lnTo>
                  <a:pt x="1825" y="838"/>
                </a:lnTo>
                <a:lnTo>
                  <a:pt x="1834" y="833"/>
                </a:lnTo>
                <a:lnTo>
                  <a:pt x="1844" y="829"/>
                </a:lnTo>
                <a:lnTo>
                  <a:pt x="1853" y="827"/>
                </a:lnTo>
                <a:lnTo>
                  <a:pt x="1865" y="825"/>
                </a:lnTo>
                <a:lnTo>
                  <a:pt x="1876" y="825"/>
                </a:lnTo>
                <a:lnTo>
                  <a:pt x="1886" y="825"/>
                </a:lnTo>
                <a:lnTo>
                  <a:pt x="1897" y="827"/>
                </a:lnTo>
                <a:lnTo>
                  <a:pt x="1907" y="829"/>
                </a:lnTo>
                <a:lnTo>
                  <a:pt x="1917" y="833"/>
                </a:lnTo>
                <a:lnTo>
                  <a:pt x="1925" y="838"/>
                </a:lnTo>
                <a:lnTo>
                  <a:pt x="1934" y="843"/>
                </a:lnTo>
                <a:lnTo>
                  <a:pt x="1942" y="849"/>
                </a:lnTo>
                <a:lnTo>
                  <a:pt x="1946" y="852"/>
                </a:lnTo>
                <a:lnTo>
                  <a:pt x="1950" y="856"/>
                </a:lnTo>
                <a:lnTo>
                  <a:pt x="1957" y="864"/>
                </a:lnTo>
                <a:lnTo>
                  <a:pt x="1964" y="871"/>
                </a:lnTo>
                <a:lnTo>
                  <a:pt x="1968" y="880"/>
                </a:lnTo>
                <a:lnTo>
                  <a:pt x="1973" y="890"/>
                </a:lnTo>
                <a:lnTo>
                  <a:pt x="1976" y="900"/>
                </a:lnTo>
                <a:lnTo>
                  <a:pt x="1980" y="909"/>
                </a:lnTo>
                <a:lnTo>
                  <a:pt x="1981" y="921"/>
                </a:lnTo>
                <a:lnTo>
                  <a:pt x="1981" y="930"/>
                </a:lnTo>
                <a:lnTo>
                  <a:pt x="1981" y="942"/>
                </a:lnTo>
                <a:lnTo>
                  <a:pt x="1980" y="953"/>
                </a:lnTo>
                <a:lnTo>
                  <a:pt x="1976" y="963"/>
                </a:lnTo>
                <a:lnTo>
                  <a:pt x="1973" y="973"/>
                </a:lnTo>
                <a:lnTo>
                  <a:pt x="1968" y="981"/>
                </a:lnTo>
                <a:lnTo>
                  <a:pt x="1964" y="990"/>
                </a:lnTo>
                <a:lnTo>
                  <a:pt x="1957" y="998"/>
                </a:lnTo>
                <a:lnTo>
                  <a:pt x="1954" y="1002"/>
                </a:lnTo>
                <a:lnTo>
                  <a:pt x="1950" y="1006"/>
                </a:lnTo>
                <a:lnTo>
                  <a:pt x="1942" y="1013"/>
                </a:lnTo>
                <a:lnTo>
                  <a:pt x="1934" y="1018"/>
                </a:lnTo>
                <a:lnTo>
                  <a:pt x="1925" y="1024"/>
                </a:lnTo>
                <a:lnTo>
                  <a:pt x="1917" y="1028"/>
                </a:lnTo>
                <a:lnTo>
                  <a:pt x="1907" y="1032"/>
                </a:lnTo>
                <a:lnTo>
                  <a:pt x="1897" y="1034"/>
                </a:lnTo>
                <a:lnTo>
                  <a:pt x="1886" y="1037"/>
                </a:lnTo>
                <a:lnTo>
                  <a:pt x="1876" y="1037"/>
                </a:lnTo>
                <a:lnTo>
                  <a:pt x="1865" y="1037"/>
                </a:lnTo>
                <a:lnTo>
                  <a:pt x="1853" y="1034"/>
                </a:lnTo>
                <a:lnTo>
                  <a:pt x="1844" y="1032"/>
                </a:lnTo>
                <a:lnTo>
                  <a:pt x="1834" y="1028"/>
                </a:lnTo>
                <a:lnTo>
                  <a:pt x="1825" y="1024"/>
                </a:lnTo>
                <a:lnTo>
                  <a:pt x="1816" y="1018"/>
                </a:lnTo>
                <a:lnTo>
                  <a:pt x="1808" y="1013"/>
                </a:lnTo>
                <a:lnTo>
                  <a:pt x="1804" y="1010"/>
                </a:lnTo>
                <a:lnTo>
                  <a:pt x="1800" y="1006"/>
                </a:lnTo>
                <a:lnTo>
                  <a:pt x="1793" y="998"/>
                </a:lnTo>
                <a:lnTo>
                  <a:pt x="1787" y="990"/>
                </a:lnTo>
                <a:lnTo>
                  <a:pt x="1782" y="981"/>
                </a:lnTo>
                <a:lnTo>
                  <a:pt x="1778" y="973"/>
                </a:lnTo>
                <a:lnTo>
                  <a:pt x="1774" y="963"/>
                </a:lnTo>
                <a:lnTo>
                  <a:pt x="1772" y="953"/>
                </a:lnTo>
                <a:lnTo>
                  <a:pt x="1769" y="942"/>
                </a:lnTo>
                <a:lnTo>
                  <a:pt x="1769" y="930"/>
                </a:lnTo>
                <a:close/>
                <a:moveTo>
                  <a:pt x="0" y="0"/>
                </a:moveTo>
                <a:lnTo>
                  <a:pt x="702" y="0"/>
                </a:lnTo>
                <a:lnTo>
                  <a:pt x="1403" y="0"/>
                </a:lnTo>
                <a:lnTo>
                  <a:pt x="2105" y="0"/>
                </a:lnTo>
                <a:lnTo>
                  <a:pt x="2806" y="0"/>
                </a:lnTo>
                <a:lnTo>
                  <a:pt x="2806" y="702"/>
                </a:lnTo>
                <a:lnTo>
                  <a:pt x="2806" y="1403"/>
                </a:lnTo>
                <a:lnTo>
                  <a:pt x="2806" y="2105"/>
                </a:lnTo>
                <a:lnTo>
                  <a:pt x="2806" y="2806"/>
                </a:lnTo>
                <a:lnTo>
                  <a:pt x="2105" y="2806"/>
                </a:lnTo>
                <a:lnTo>
                  <a:pt x="1403" y="2806"/>
                </a:lnTo>
                <a:lnTo>
                  <a:pt x="702" y="2806"/>
                </a:lnTo>
                <a:lnTo>
                  <a:pt x="0" y="2806"/>
                </a:lnTo>
                <a:lnTo>
                  <a:pt x="0" y="2105"/>
                </a:lnTo>
                <a:lnTo>
                  <a:pt x="0" y="1403"/>
                </a:lnTo>
                <a:lnTo>
                  <a:pt x="0" y="702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0201" tIns="40100" rIns="80201" bIns="40100" numCol="1" anchor="t" anchorCtr="0" compatLnSpc="1">
            <a:prstTxWarp prst="textNoShape">
              <a:avLst/>
            </a:prstTxWarp>
          </a:bodyPr>
          <a:lstStyle/>
          <a:p>
            <a:endParaRPr lang="en-GB" sz="1579"/>
          </a:p>
        </p:txBody>
      </p:sp>
      <p:sp>
        <p:nvSpPr>
          <p:cNvPr id="11" name="Freeform 12">
            <a:hlinkClick r:id="rId6" tooltip="LinkedIn"/>
          </p:cNvPr>
          <p:cNvSpPr>
            <a:spLocks noChangeAspect="1" noEditPoints="1"/>
          </p:cNvSpPr>
          <p:nvPr/>
        </p:nvSpPr>
        <p:spPr bwMode="auto">
          <a:xfrm>
            <a:off x="5220414" y="684481"/>
            <a:ext cx="252600" cy="317600"/>
          </a:xfrm>
          <a:custGeom>
            <a:avLst/>
            <a:gdLst>
              <a:gd name="T0" fmla="*/ 962 w 2804"/>
              <a:gd name="T1" fmla="*/ 2198 h 2806"/>
              <a:gd name="T2" fmla="*/ 798 w 2804"/>
              <a:gd name="T3" fmla="*/ 609 h 2806"/>
              <a:gd name="T4" fmla="*/ 845 w 2804"/>
              <a:gd name="T5" fmla="*/ 615 h 2806"/>
              <a:gd name="T6" fmla="*/ 904 w 2804"/>
              <a:gd name="T7" fmla="*/ 641 h 2806"/>
              <a:gd name="T8" fmla="*/ 950 w 2804"/>
              <a:gd name="T9" fmla="*/ 685 h 2806"/>
              <a:gd name="T10" fmla="*/ 973 w 2804"/>
              <a:gd name="T11" fmla="*/ 725 h 2806"/>
              <a:gd name="T12" fmla="*/ 984 w 2804"/>
              <a:gd name="T13" fmla="*/ 761 h 2806"/>
              <a:gd name="T14" fmla="*/ 986 w 2804"/>
              <a:gd name="T15" fmla="*/ 829 h 2806"/>
              <a:gd name="T16" fmla="*/ 973 w 2804"/>
              <a:gd name="T17" fmla="*/ 875 h 2806"/>
              <a:gd name="T18" fmla="*/ 933 w 2804"/>
              <a:gd name="T19" fmla="*/ 935 h 2806"/>
              <a:gd name="T20" fmla="*/ 888 w 2804"/>
              <a:gd name="T21" fmla="*/ 969 h 2806"/>
              <a:gd name="T22" fmla="*/ 855 w 2804"/>
              <a:gd name="T23" fmla="*/ 982 h 2806"/>
              <a:gd name="T24" fmla="*/ 798 w 2804"/>
              <a:gd name="T25" fmla="*/ 991 h 2806"/>
              <a:gd name="T26" fmla="*/ 749 w 2804"/>
              <a:gd name="T27" fmla="*/ 985 h 2806"/>
              <a:gd name="T28" fmla="*/ 690 w 2804"/>
              <a:gd name="T29" fmla="*/ 959 h 2806"/>
              <a:gd name="T30" fmla="*/ 644 w 2804"/>
              <a:gd name="T31" fmla="*/ 914 h 2806"/>
              <a:gd name="T32" fmla="*/ 621 w 2804"/>
              <a:gd name="T33" fmla="*/ 875 h 2806"/>
              <a:gd name="T34" fmla="*/ 610 w 2804"/>
              <a:gd name="T35" fmla="*/ 839 h 2806"/>
              <a:gd name="T36" fmla="*/ 608 w 2804"/>
              <a:gd name="T37" fmla="*/ 771 h 2806"/>
              <a:gd name="T38" fmla="*/ 621 w 2804"/>
              <a:gd name="T39" fmla="*/ 725 h 2806"/>
              <a:gd name="T40" fmla="*/ 662 w 2804"/>
              <a:gd name="T41" fmla="*/ 664 h 2806"/>
              <a:gd name="T42" fmla="*/ 706 w 2804"/>
              <a:gd name="T43" fmla="*/ 632 h 2806"/>
              <a:gd name="T44" fmla="*/ 749 w 2804"/>
              <a:gd name="T45" fmla="*/ 615 h 2806"/>
              <a:gd name="T46" fmla="*/ 798 w 2804"/>
              <a:gd name="T47" fmla="*/ 609 h 2806"/>
              <a:gd name="T48" fmla="*/ 1491 w 2804"/>
              <a:gd name="T49" fmla="*/ 1282 h 2806"/>
              <a:gd name="T50" fmla="*/ 1521 w 2804"/>
              <a:gd name="T51" fmla="*/ 1235 h 2806"/>
              <a:gd name="T52" fmla="*/ 1583 w 2804"/>
              <a:gd name="T53" fmla="*/ 1176 h 2806"/>
              <a:gd name="T54" fmla="*/ 1656 w 2804"/>
              <a:gd name="T55" fmla="*/ 1137 h 2806"/>
              <a:gd name="T56" fmla="*/ 1718 w 2804"/>
              <a:gd name="T57" fmla="*/ 1118 h 2806"/>
              <a:gd name="T58" fmla="*/ 1773 w 2804"/>
              <a:gd name="T59" fmla="*/ 1111 h 2806"/>
              <a:gd name="T60" fmla="*/ 1862 w 2804"/>
              <a:gd name="T61" fmla="*/ 1112 h 2806"/>
              <a:gd name="T62" fmla="*/ 1940 w 2804"/>
              <a:gd name="T63" fmla="*/ 1126 h 2806"/>
              <a:gd name="T64" fmla="*/ 2024 w 2804"/>
              <a:gd name="T65" fmla="*/ 1159 h 2806"/>
              <a:gd name="T66" fmla="*/ 2067 w 2804"/>
              <a:gd name="T67" fmla="*/ 1188 h 2806"/>
              <a:gd name="T68" fmla="*/ 2096 w 2804"/>
              <a:gd name="T69" fmla="*/ 1216 h 2806"/>
              <a:gd name="T70" fmla="*/ 2120 w 2804"/>
              <a:gd name="T71" fmla="*/ 1247 h 2806"/>
              <a:gd name="T72" fmla="*/ 2140 w 2804"/>
              <a:gd name="T73" fmla="*/ 1282 h 2806"/>
              <a:gd name="T74" fmla="*/ 2161 w 2804"/>
              <a:gd name="T75" fmla="*/ 1330 h 2806"/>
              <a:gd name="T76" fmla="*/ 2183 w 2804"/>
              <a:gd name="T77" fmla="*/ 1417 h 2806"/>
              <a:gd name="T78" fmla="*/ 2193 w 2804"/>
              <a:gd name="T79" fmla="*/ 1487 h 2806"/>
              <a:gd name="T80" fmla="*/ 2198 w 2804"/>
              <a:gd name="T81" fmla="*/ 1588 h 2806"/>
              <a:gd name="T82" fmla="*/ 1868 w 2804"/>
              <a:gd name="T83" fmla="*/ 1681 h 2806"/>
              <a:gd name="T84" fmla="*/ 1864 w 2804"/>
              <a:gd name="T85" fmla="*/ 1574 h 2806"/>
              <a:gd name="T86" fmla="*/ 1853 w 2804"/>
              <a:gd name="T87" fmla="*/ 1515 h 2806"/>
              <a:gd name="T88" fmla="*/ 1837 w 2804"/>
              <a:gd name="T89" fmla="*/ 1475 h 2806"/>
              <a:gd name="T90" fmla="*/ 1811 w 2804"/>
              <a:gd name="T91" fmla="*/ 1441 h 2806"/>
              <a:gd name="T92" fmla="*/ 1785 w 2804"/>
              <a:gd name="T93" fmla="*/ 1421 h 2806"/>
              <a:gd name="T94" fmla="*/ 1753 w 2804"/>
              <a:gd name="T95" fmla="*/ 1407 h 2806"/>
              <a:gd name="T96" fmla="*/ 1697 w 2804"/>
              <a:gd name="T97" fmla="*/ 1400 h 2806"/>
              <a:gd name="T98" fmla="*/ 1639 w 2804"/>
              <a:gd name="T99" fmla="*/ 1407 h 2806"/>
              <a:gd name="T100" fmla="*/ 1593 w 2804"/>
              <a:gd name="T101" fmla="*/ 1423 h 2806"/>
              <a:gd name="T102" fmla="*/ 1566 w 2804"/>
              <a:gd name="T103" fmla="*/ 1442 h 2806"/>
              <a:gd name="T104" fmla="*/ 1539 w 2804"/>
              <a:gd name="T105" fmla="*/ 1475 h 2806"/>
              <a:gd name="T106" fmla="*/ 1520 w 2804"/>
              <a:gd name="T107" fmla="*/ 1515 h 2806"/>
              <a:gd name="T108" fmla="*/ 1508 w 2804"/>
              <a:gd name="T109" fmla="*/ 1560 h 2806"/>
              <a:gd name="T110" fmla="*/ 1500 w 2804"/>
              <a:gd name="T111" fmla="*/ 1622 h 2806"/>
              <a:gd name="T112" fmla="*/ 1169 w 2804"/>
              <a:gd name="T113" fmla="*/ 2198 h 2806"/>
              <a:gd name="T114" fmla="*/ 700 w 2804"/>
              <a:gd name="T115" fmla="*/ 0 h 2806"/>
              <a:gd name="T116" fmla="*/ 2804 w 2804"/>
              <a:gd name="T117" fmla="*/ 701 h 2806"/>
              <a:gd name="T118" fmla="*/ 2103 w 2804"/>
              <a:gd name="T119" fmla="*/ 2806 h 2806"/>
              <a:gd name="T120" fmla="*/ 0 w 2804"/>
              <a:gd name="T121" fmla="*/ 2104 h 28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04" h="2806">
                <a:moveTo>
                  <a:pt x="632" y="1136"/>
                </a:moveTo>
                <a:lnTo>
                  <a:pt x="962" y="1136"/>
                </a:lnTo>
                <a:lnTo>
                  <a:pt x="962" y="1666"/>
                </a:lnTo>
                <a:lnTo>
                  <a:pt x="962" y="2198"/>
                </a:lnTo>
                <a:lnTo>
                  <a:pt x="632" y="2198"/>
                </a:lnTo>
                <a:lnTo>
                  <a:pt x="632" y="1666"/>
                </a:lnTo>
                <a:lnTo>
                  <a:pt x="632" y="1136"/>
                </a:lnTo>
                <a:close/>
                <a:moveTo>
                  <a:pt x="798" y="609"/>
                </a:moveTo>
                <a:lnTo>
                  <a:pt x="816" y="610"/>
                </a:lnTo>
                <a:lnTo>
                  <a:pt x="826" y="611"/>
                </a:lnTo>
                <a:lnTo>
                  <a:pt x="836" y="612"/>
                </a:lnTo>
                <a:lnTo>
                  <a:pt x="845" y="615"/>
                </a:lnTo>
                <a:lnTo>
                  <a:pt x="855" y="617"/>
                </a:lnTo>
                <a:lnTo>
                  <a:pt x="872" y="623"/>
                </a:lnTo>
                <a:lnTo>
                  <a:pt x="888" y="632"/>
                </a:lnTo>
                <a:lnTo>
                  <a:pt x="904" y="641"/>
                </a:lnTo>
                <a:lnTo>
                  <a:pt x="919" y="652"/>
                </a:lnTo>
                <a:lnTo>
                  <a:pt x="933" y="664"/>
                </a:lnTo>
                <a:lnTo>
                  <a:pt x="945" y="678"/>
                </a:lnTo>
                <a:lnTo>
                  <a:pt x="950" y="685"/>
                </a:lnTo>
                <a:lnTo>
                  <a:pt x="956" y="693"/>
                </a:lnTo>
                <a:lnTo>
                  <a:pt x="965" y="709"/>
                </a:lnTo>
                <a:lnTo>
                  <a:pt x="970" y="717"/>
                </a:lnTo>
                <a:lnTo>
                  <a:pt x="973" y="725"/>
                </a:lnTo>
                <a:lnTo>
                  <a:pt x="977" y="734"/>
                </a:lnTo>
                <a:lnTo>
                  <a:pt x="980" y="743"/>
                </a:lnTo>
                <a:lnTo>
                  <a:pt x="982" y="752"/>
                </a:lnTo>
                <a:lnTo>
                  <a:pt x="984" y="761"/>
                </a:lnTo>
                <a:lnTo>
                  <a:pt x="987" y="781"/>
                </a:lnTo>
                <a:lnTo>
                  <a:pt x="988" y="800"/>
                </a:lnTo>
                <a:lnTo>
                  <a:pt x="987" y="819"/>
                </a:lnTo>
                <a:lnTo>
                  <a:pt x="986" y="829"/>
                </a:lnTo>
                <a:lnTo>
                  <a:pt x="984" y="839"/>
                </a:lnTo>
                <a:lnTo>
                  <a:pt x="982" y="847"/>
                </a:lnTo>
                <a:lnTo>
                  <a:pt x="980" y="857"/>
                </a:lnTo>
                <a:lnTo>
                  <a:pt x="973" y="875"/>
                </a:lnTo>
                <a:lnTo>
                  <a:pt x="965" y="891"/>
                </a:lnTo>
                <a:lnTo>
                  <a:pt x="956" y="907"/>
                </a:lnTo>
                <a:lnTo>
                  <a:pt x="945" y="922"/>
                </a:lnTo>
                <a:lnTo>
                  <a:pt x="933" y="935"/>
                </a:lnTo>
                <a:lnTo>
                  <a:pt x="919" y="948"/>
                </a:lnTo>
                <a:lnTo>
                  <a:pt x="911" y="954"/>
                </a:lnTo>
                <a:lnTo>
                  <a:pt x="904" y="959"/>
                </a:lnTo>
                <a:lnTo>
                  <a:pt x="888" y="969"/>
                </a:lnTo>
                <a:lnTo>
                  <a:pt x="881" y="972"/>
                </a:lnTo>
                <a:lnTo>
                  <a:pt x="872" y="976"/>
                </a:lnTo>
                <a:lnTo>
                  <a:pt x="863" y="980"/>
                </a:lnTo>
                <a:lnTo>
                  <a:pt x="855" y="982"/>
                </a:lnTo>
                <a:lnTo>
                  <a:pt x="845" y="985"/>
                </a:lnTo>
                <a:lnTo>
                  <a:pt x="836" y="987"/>
                </a:lnTo>
                <a:lnTo>
                  <a:pt x="816" y="990"/>
                </a:lnTo>
                <a:lnTo>
                  <a:pt x="798" y="991"/>
                </a:lnTo>
                <a:lnTo>
                  <a:pt x="788" y="991"/>
                </a:lnTo>
                <a:lnTo>
                  <a:pt x="778" y="990"/>
                </a:lnTo>
                <a:lnTo>
                  <a:pt x="758" y="987"/>
                </a:lnTo>
                <a:lnTo>
                  <a:pt x="749" y="985"/>
                </a:lnTo>
                <a:lnTo>
                  <a:pt x="740" y="982"/>
                </a:lnTo>
                <a:lnTo>
                  <a:pt x="722" y="976"/>
                </a:lnTo>
                <a:lnTo>
                  <a:pt x="706" y="969"/>
                </a:lnTo>
                <a:lnTo>
                  <a:pt x="690" y="959"/>
                </a:lnTo>
                <a:lnTo>
                  <a:pt x="675" y="948"/>
                </a:lnTo>
                <a:lnTo>
                  <a:pt x="662" y="935"/>
                </a:lnTo>
                <a:lnTo>
                  <a:pt x="649" y="922"/>
                </a:lnTo>
                <a:lnTo>
                  <a:pt x="644" y="914"/>
                </a:lnTo>
                <a:lnTo>
                  <a:pt x="638" y="907"/>
                </a:lnTo>
                <a:lnTo>
                  <a:pt x="628" y="891"/>
                </a:lnTo>
                <a:lnTo>
                  <a:pt x="624" y="883"/>
                </a:lnTo>
                <a:lnTo>
                  <a:pt x="621" y="875"/>
                </a:lnTo>
                <a:lnTo>
                  <a:pt x="617" y="866"/>
                </a:lnTo>
                <a:lnTo>
                  <a:pt x="615" y="857"/>
                </a:lnTo>
                <a:lnTo>
                  <a:pt x="612" y="847"/>
                </a:lnTo>
                <a:lnTo>
                  <a:pt x="610" y="839"/>
                </a:lnTo>
                <a:lnTo>
                  <a:pt x="607" y="819"/>
                </a:lnTo>
                <a:lnTo>
                  <a:pt x="606" y="800"/>
                </a:lnTo>
                <a:lnTo>
                  <a:pt x="607" y="781"/>
                </a:lnTo>
                <a:lnTo>
                  <a:pt x="608" y="771"/>
                </a:lnTo>
                <a:lnTo>
                  <a:pt x="610" y="761"/>
                </a:lnTo>
                <a:lnTo>
                  <a:pt x="612" y="752"/>
                </a:lnTo>
                <a:lnTo>
                  <a:pt x="615" y="743"/>
                </a:lnTo>
                <a:lnTo>
                  <a:pt x="621" y="725"/>
                </a:lnTo>
                <a:lnTo>
                  <a:pt x="628" y="709"/>
                </a:lnTo>
                <a:lnTo>
                  <a:pt x="638" y="693"/>
                </a:lnTo>
                <a:lnTo>
                  <a:pt x="649" y="678"/>
                </a:lnTo>
                <a:lnTo>
                  <a:pt x="662" y="664"/>
                </a:lnTo>
                <a:lnTo>
                  <a:pt x="675" y="652"/>
                </a:lnTo>
                <a:lnTo>
                  <a:pt x="683" y="647"/>
                </a:lnTo>
                <a:lnTo>
                  <a:pt x="690" y="641"/>
                </a:lnTo>
                <a:lnTo>
                  <a:pt x="706" y="632"/>
                </a:lnTo>
                <a:lnTo>
                  <a:pt x="714" y="627"/>
                </a:lnTo>
                <a:lnTo>
                  <a:pt x="722" y="623"/>
                </a:lnTo>
                <a:lnTo>
                  <a:pt x="740" y="617"/>
                </a:lnTo>
                <a:lnTo>
                  <a:pt x="749" y="615"/>
                </a:lnTo>
                <a:lnTo>
                  <a:pt x="758" y="612"/>
                </a:lnTo>
                <a:lnTo>
                  <a:pt x="768" y="611"/>
                </a:lnTo>
                <a:lnTo>
                  <a:pt x="778" y="610"/>
                </a:lnTo>
                <a:lnTo>
                  <a:pt x="798" y="609"/>
                </a:lnTo>
                <a:close/>
                <a:moveTo>
                  <a:pt x="1169" y="1136"/>
                </a:moveTo>
                <a:lnTo>
                  <a:pt x="1486" y="1136"/>
                </a:lnTo>
                <a:lnTo>
                  <a:pt x="1486" y="1282"/>
                </a:lnTo>
                <a:lnTo>
                  <a:pt x="1491" y="1282"/>
                </a:lnTo>
                <a:lnTo>
                  <a:pt x="1499" y="1266"/>
                </a:lnTo>
                <a:lnTo>
                  <a:pt x="1509" y="1249"/>
                </a:lnTo>
                <a:lnTo>
                  <a:pt x="1515" y="1242"/>
                </a:lnTo>
                <a:lnTo>
                  <a:pt x="1521" y="1235"/>
                </a:lnTo>
                <a:lnTo>
                  <a:pt x="1535" y="1220"/>
                </a:lnTo>
                <a:lnTo>
                  <a:pt x="1550" y="1205"/>
                </a:lnTo>
                <a:lnTo>
                  <a:pt x="1566" y="1190"/>
                </a:lnTo>
                <a:lnTo>
                  <a:pt x="1583" y="1176"/>
                </a:lnTo>
                <a:lnTo>
                  <a:pt x="1602" y="1164"/>
                </a:lnTo>
                <a:lnTo>
                  <a:pt x="1623" y="1153"/>
                </a:lnTo>
                <a:lnTo>
                  <a:pt x="1644" y="1142"/>
                </a:lnTo>
                <a:lnTo>
                  <a:pt x="1656" y="1137"/>
                </a:lnTo>
                <a:lnTo>
                  <a:pt x="1667" y="1133"/>
                </a:lnTo>
                <a:lnTo>
                  <a:pt x="1692" y="1125"/>
                </a:lnTo>
                <a:lnTo>
                  <a:pt x="1705" y="1122"/>
                </a:lnTo>
                <a:lnTo>
                  <a:pt x="1718" y="1118"/>
                </a:lnTo>
                <a:lnTo>
                  <a:pt x="1731" y="1116"/>
                </a:lnTo>
                <a:lnTo>
                  <a:pt x="1744" y="1113"/>
                </a:lnTo>
                <a:lnTo>
                  <a:pt x="1759" y="1112"/>
                </a:lnTo>
                <a:lnTo>
                  <a:pt x="1773" y="1111"/>
                </a:lnTo>
                <a:lnTo>
                  <a:pt x="1802" y="1110"/>
                </a:lnTo>
                <a:lnTo>
                  <a:pt x="1833" y="1111"/>
                </a:lnTo>
                <a:lnTo>
                  <a:pt x="1848" y="1111"/>
                </a:lnTo>
                <a:lnTo>
                  <a:pt x="1862" y="1112"/>
                </a:lnTo>
                <a:lnTo>
                  <a:pt x="1889" y="1116"/>
                </a:lnTo>
                <a:lnTo>
                  <a:pt x="1915" y="1120"/>
                </a:lnTo>
                <a:lnTo>
                  <a:pt x="1927" y="1122"/>
                </a:lnTo>
                <a:lnTo>
                  <a:pt x="1940" y="1126"/>
                </a:lnTo>
                <a:lnTo>
                  <a:pt x="1963" y="1132"/>
                </a:lnTo>
                <a:lnTo>
                  <a:pt x="1984" y="1139"/>
                </a:lnTo>
                <a:lnTo>
                  <a:pt x="2005" y="1149"/>
                </a:lnTo>
                <a:lnTo>
                  <a:pt x="2024" y="1159"/>
                </a:lnTo>
                <a:lnTo>
                  <a:pt x="2042" y="1169"/>
                </a:lnTo>
                <a:lnTo>
                  <a:pt x="2051" y="1175"/>
                </a:lnTo>
                <a:lnTo>
                  <a:pt x="2058" y="1181"/>
                </a:lnTo>
                <a:lnTo>
                  <a:pt x="2067" y="1188"/>
                </a:lnTo>
                <a:lnTo>
                  <a:pt x="2075" y="1195"/>
                </a:lnTo>
                <a:lnTo>
                  <a:pt x="2082" y="1201"/>
                </a:lnTo>
                <a:lnTo>
                  <a:pt x="2088" y="1209"/>
                </a:lnTo>
                <a:lnTo>
                  <a:pt x="2096" y="1216"/>
                </a:lnTo>
                <a:lnTo>
                  <a:pt x="2102" y="1223"/>
                </a:lnTo>
                <a:lnTo>
                  <a:pt x="2108" y="1231"/>
                </a:lnTo>
                <a:lnTo>
                  <a:pt x="2114" y="1240"/>
                </a:lnTo>
                <a:lnTo>
                  <a:pt x="2120" y="1247"/>
                </a:lnTo>
                <a:lnTo>
                  <a:pt x="2125" y="1256"/>
                </a:lnTo>
                <a:lnTo>
                  <a:pt x="2130" y="1264"/>
                </a:lnTo>
                <a:lnTo>
                  <a:pt x="2135" y="1273"/>
                </a:lnTo>
                <a:lnTo>
                  <a:pt x="2140" y="1282"/>
                </a:lnTo>
                <a:lnTo>
                  <a:pt x="2145" y="1292"/>
                </a:lnTo>
                <a:lnTo>
                  <a:pt x="2154" y="1310"/>
                </a:lnTo>
                <a:lnTo>
                  <a:pt x="2157" y="1320"/>
                </a:lnTo>
                <a:lnTo>
                  <a:pt x="2161" y="1330"/>
                </a:lnTo>
                <a:lnTo>
                  <a:pt x="2167" y="1351"/>
                </a:lnTo>
                <a:lnTo>
                  <a:pt x="2173" y="1372"/>
                </a:lnTo>
                <a:lnTo>
                  <a:pt x="2178" y="1393"/>
                </a:lnTo>
                <a:lnTo>
                  <a:pt x="2183" y="1417"/>
                </a:lnTo>
                <a:lnTo>
                  <a:pt x="2185" y="1428"/>
                </a:lnTo>
                <a:lnTo>
                  <a:pt x="2187" y="1439"/>
                </a:lnTo>
                <a:lnTo>
                  <a:pt x="2190" y="1462"/>
                </a:lnTo>
                <a:lnTo>
                  <a:pt x="2193" y="1487"/>
                </a:lnTo>
                <a:lnTo>
                  <a:pt x="2195" y="1512"/>
                </a:lnTo>
                <a:lnTo>
                  <a:pt x="2196" y="1538"/>
                </a:lnTo>
                <a:lnTo>
                  <a:pt x="2197" y="1563"/>
                </a:lnTo>
                <a:lnTo>
                  <a:pt x="2198" y="1588"/>
                </a:lnTo>
                <a:lnTo>
                  <a:pt x="2198" y="1616"/>
                </a:lnTo>
                <a:lnTo>
                  <a:pt x="2198" y="2198"/>
                </a:lnTo>
                <a:lnTo>
                  <a:pt x="1868" y="2198"/>
                </a:lnTo>
                <a:lnTo>
                  <a:pt x="1868" y="1681"/>
                </a:lnTo>
                <a:lnTo>
                  <a:pt x="1868" y="1634"/>
                </a:lnTo>
                <a:lnTo>
                  <a:pt x="1867" y="1610"/>
                </a:lnTo>
                <a:lnTo>
                  <a:pt x="1865" y="1586"/>
                </a:lnTo>
                <a:lnTo>
                  <a:pt x="1864" y="1574"/>
                </a:lnTo>
                <a:lnTo>
                  <a:pt x="1863" y="1561"/>
                </a:lnTo>
                <a:lnTo>
                  <a:pt x="1858" y="1539"/>
                </a:lnTo>
                <a:lnTo>
                  <a:pt x="1856" y="1527"/>
                </a:lnTo>
                <a:lnTo>
                  <a:pt x="1853" y="1515"/>
                </a:lnTo>
                <a:lnTo>
                  <a:pt x="1849" y="1506"/>
                </a:lnTo>
                <a:lnTo>
                  <a:pt x="1846" y="1494"/>
                </a:lnTo>
                <a:lnTo>
                  <a:pt x="1842" y="1485"/>
                </a:lnTo>
                <a:lnTo>
                  <a:pt x="1837" y="1475"/>
                </a:lnTo>
                <a:lnTo>
                  <a:pt x="1831" y="1466"/>
                </a:lnTo>
                <a:lnTo>
                  <a:pt x="1826" y="1457"/>
                </a:lnTo>
                <a:lnTo>
                  <a:pt x="1818" y="1449"/>
                </a:lnTo>
                <a:lnTo>
                  <a:pt x="1811" y="1441"/>
                </a:lnTo>
                <a:lnTo>
                  <a:pt x="1804" y="1434"/>
                </a:lnTo>
                <a:lnTo>
                  <a:pt x="1800" y="1430"/>
                </a:lnTo>
                <a:lnTo>
                  <a:pt x="1795" y="1426"/>
                </a:lnTo>
                <a:lnTo>
                  <a:pt x="1785" y="1421"/>
                </a:lnTo>
                <a:lnTo>
                  <a:pt x="1775" y="1415"/>
                </a:lnTo>
                <a:lnTo>
                  <a:pt x="1764" y="1412"/>
                </a:lnTo>
                <a:lnTo>
                  <a:pt x="1759" y="1409"/>
                </a:lnTo>
                <a:lnTo>
                  <a:pt x="1753" y="1407"/>
                </a:lnTo>
                <a:lnTo>
                  <a:pt x="1740" y="1404"/>
                </a:lnTo>
                <a:lnTo>
                  <a:pt x="1727" y="1402"/>
                </a:lnTo>
                <a:lnTo>
                  <a:pt x="1712" y="1400"/>
                </a:lnTo>
                <a:lnTo>
                  <a:pt x="1697" y="1400"/>
                </a:lnTo>
                <a:lnTo>
                  <a:pt x="1681" y="1400"/>
                </a:lnTo>
                <a:lnTo>
                  <a:pt x="1666" y="1402"/>
                </a:lnTo>
                <a:lnTo>
                  <a:pt x="1653" y="1404"/>
                </a:lnTo>
                <a:lnTo>
                  <a:pt x="1639" y="1407"/>
                </a:lnTo>
                <a:lnTo>
                  <a:pt x="1627" y="1409"/>
                </a:lnTo>
                <a:lnTo>
                  <a:pt x="1614" y="1414"/>
                </a:lnTo>
                <a:lnTo>
                  <a:pt x="1603" y="1418"/>
                </a:lnTo>
                <a:lnTo>
                  <a:pt x="1593" y="1423"/>
                </a:lnTo>
                <a:lnTo>
                  <a:pt x="1583" y="1429"/>
                </a:lnTo>
                <a:lnTo>
                  <a:pt x="1580" y="1433"/>
                </a:lnTo>
                <a:lnTo>
                  <a:pt x="1575" y="1435"/>
                </a:lnTo>
                <a:lnTo>
                  <a:pt x="1566" y="1442"/>
                </a:lnTo>
                <a:lnTo>
                  <a:pt x="1559" y="1450"/>
                </a:lnTo>
                <a:lnTo>
                  <a:pt x="1551" y="1457"/>
                </a:lnTo>
                <a:lnTo>
                  <a:pt x="1545" y="1466"/>
                </a:lnTo>
                <a:lnTo>
                  <a:pt x="1539" y="1475"/>
                </a:lnTo>
                <a:lnTo>
                  <a:pt x="1534" y="1485"/>
                </a:lnTo>
                <a:lnTo>
                  <a:pt x="1529" y="1494"/>
                </a:lnTo>
                <a:lnTo>
                  <a:pt x="1524" y="1504"/>
                </a:lnTo>
                <a:lnTo>
                  <a:pt x="1520" y="1515"/>
                </a:lnTo>
                <a:lnTo>
                  <a:pt x="1517" y="1525"/>
                </a:lnTo>
                <a:lnTo>
                  <a:pt x="1513" y="1537"/>
                </a:lnTo>
                <a:lnTo>
                  <a:pt x="1510" y="1548"/>
                </a:lnTo>
                <a:lnTo>
                  <a:pt x="1508" y="1560"/>
                </a:lnTo>
                <a:lnTo>
                  <a:pt x="1505" y="1572"/>
                </a:lnTo>
                <a:lnTo>
                  <a:pt x="1504" y="1584"/>
                </a:lnTo>
                <a:lnTo>
                  <a:pt x="1503" y="1596"/>
                </a:lnTo>
                <a:lnTo>
                  <a:pt x="1500" y="1622"/>
                </a:lnTo>
                <a:lnTo>
                  <a:pt x="1499" y="1647"/>
                </a:lnTo>
                <a:lnTo>
                  <a:pt x="1499" y="1673"/>
                </a:lnTo>
                <a:lnTo>
                  <a:pt x="1499" y="2198"/>
                </a:lnTo>
                <a:lnTo>
                  <a:pt x="1169" y="2198"/>
                </a:lnTo>
                <a:lnTo>
                  <a:pt x="1169" y="1666"/>
                </a:lnTo>
                <a:lnTo>
                  <a:pt x="1169" y="1136"/>
                </a:lnTo>
                <a:close/>
                <a:moveTo>
                  <a:pt x="0" y="0"/>
                </a:moveTo>
                <a:lnTo>
                  <a:pt x="700" y="0"/>
                </a:lnTo>
                <a:lnTo>
                  <a:pt x="1401" y="0"/>
                </a:lnTo>
                <a:lnTo>
                  <a:pt x="2103" y="0"/>
                </a:lnTo>
                <a:lnTo>
                  <a:pt x="2804" y="0"/>
                </a:lnTo>
                <a:lnTo>
                  <a:pt x="2804" y="701"/>
                </a:lnTo>
                <a:lnTo>
                  <a:pt x="2804" y="1403"/>
                </a:lnTo>
                <a:lnTo>
                  <a:pt x="2804" y="2104"/>
                </a:lnTo>
                <a:lnTo>
                  <a:pt x="2804" y="2806"/>
                </a:lnTo>
                <a:lnTo>
                  <a:pt x="2103" y="2806"/>
                </a:lnTo>
                <a:lnTo>
                  <a:pt x="1401" y="2806"/>
                </a:lnTo>
                <a:lnTo>
                  <a:pt x="700" y="2806"/>
                </a:lnTo>
                <a:lnTo>
                  <a:pt x="0" y="2806"/>
                </a:lnTo>
                <a:lnTo>
                  <a:pt x="0" y="2104"/>
                </a:lnTo>
                <a:lnTo>
                  <a:pt x="0" y="1403"/>
                </a:lnTo>
                <a:lnTo>
                  <a:pt x="0" y="701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0201" tIns="40100" rIns="80201" bIns="40100" numCol="1" anchor="t" anchorCtr="0" compatLnSpc="1">
            <a:prstTxWarp prst="textNoShape">
              <a:avLst/>
            </a:prstTxWarp>
          </a:bodyPr>
          <a:lstStyle/>
          <a:p>
            <a:endParaRPr lang="en-GB" sz="1579"/>
          </a:p>
        </p:txBody>
      </p:sp>
      <p:sp>
        <p:nvSpPr>
          <p:cNvPr id="18" name="Text Placehold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736564" y="6083543"/>
            <a:ext cx="9220273" cy="635489"/>
          </a:xfrm>
        </p:spPr>
        <p:txBody>
          <a:bodyPr/>
          <a:lstStyle>
            <a:lvl1pPr marL="0" indent="0" algn="ctr">
              <a:spcBef>
                <a:spcPts val="175"/>
              </a:spcBef>
              <a:buFontTx/>
              <a:buNone/>
              <a:defRPr sz="1403" b="0">
                <a:solidFill>
                  <a:schemeClr val="bg1"/>
                </a:solidFill>
              </a:defRPr>
            </a:lvl1pPr>
            <a:lvl2pPr marL="0" indent="0" algn="ctr">
              <a:spcBef>
                <a:spcPts val="175"/>
              </a:spcBef>
              <a:buFontTx/>
              <a:buNone/>
              <a:defRPr sz="1228">
                <a:solidFill>
                  <a:schemeClr val="bg1"/>
                </a:solidFill>
              </a:defRPr>
            </a:lvl2pPr>
            <a:lvl3pPr marL="0" indent="0" algn="ctr">
              <a:spcBef>
                <a:spcPts val="175"/>
              </a:spcBef>
              <a:buFontTx/>
              <a:buNone/>
              <a:defRPr sz="877"/>
            </a:lvl3pPr>
            <a:lvl4pPr marL="0" indent="0" algn="ctr">
              <a:spcBef>
                <a:spcPts val="175"/>
              </a:spcBef>
              <a:buFontTx/>
              <a:buNone/>
              <a:defRPr sz="877"/>
            </a:lvl4pPr>
            <a:lvl5pPr marL="0" indent="0" algn="ctr">
              <a:spcBef>
                <a:spcPts val="175"/>
              </a:spcBef>
              <a:buFontTx/>
              <a:buNone/>
              <a:defRPr sz="877"/>
            </a:lvl5pPr>
          </a:lstStyle>
          <a:p>
            <a:pPr lvl="0"/>
            <a:r>
              <a:rPr lang="en-US"/>
              <a:t>Your contact detail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20423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0693400" cy="756285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6672064" y="620688"/>
                </a:moveTo>
                <a:lnTo>
                  <a:pt x="6672064" y="908720"/>
                </a:lnTo>
                <a:lnTo>
                  <a:pt x="6960096" y="908720"/>
                </a:lnTo>
                <a:lnTo>
                  <a:pt x="6960096" y="620688"/>
                </a:lnTo>
                <a:close/>
                <a:moveTo>
                  <a:pt x="6312024" y="620688"/>
                </a:moveTo>
                <a:lnTo>
                  <a:pt x="6312024" y="908720"/>
                </a:lnTo>
                <a:lnTo>
                  <a:pt x="6600056" y="908720"/>
                </a:lnTo>
                <a:lnTo>
                  <a:pt x="6600056" y="620688"/>
                </a:lnTo>
                <a:close/>
                <a:moveTo>
                  <a:pt x="5951984" y="620688"/>
                </a:moveTo>
                <a:lnTo>
                  <a:pt x="5951984" y="908720"/>
                </a:lnTo>
                <a:lnTo>
                  <a:pt x="6240016" y="908720"/>
                </a:lnTo>
                <a:lnTo>
                  <a:pt x="6240016" y="620688"/>
                </a:lnTo>
                <a:close/>
                <a:moveTo>
                  <a:pt x="5591944" y="620688"/>
                </a:moveTo>
                <a:lnTo>
                  <a:pt x="5591944" y="908720"/>
                </a:lnTo>
                <a:lnTo>
                  <a:pt x="5879976" y="908720"/>
                </a:lnTo>
                <a:lnTo>
                  <a:pt x="5879976" y="620688"/>
                </a:lnTo>
                <a:close/>
                <a:moveTo>
                  <a:pt x="5231904" y="620688"/>
                </a:moveTo>
                <a:lnTo>
                  <a:pt x="5231904" y="908720"/>
                </a:lnTo>
                <a:lnTo>
                  <a:pt x="5519936" y="908720"/>
                </a:lnTo>
                <a:lnTo>
                  <a:pt x="5519936" y="620688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5171" y="1874958"/>
            <a:ext cx="9221666" cy="1747650"/>
          </a:xfrm>
        </p:spPr>
        <p:txBody>
          <a:bodyPr anchor="b" anchorCtr="0"/>
          <a:lstStyle>
            <a:lvl1pPr algn="ctr">
              <a:defRPr sz="5263" spc="-263" baseline="0"/>
            </a:lvl1pPr>
          </a:lstStyle>
          <a:p>
            <a:r>
              <a:rPr lang="en-US" dirty="0"/>
              <a:t>Click to add Thank you Text.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8CDCE6C-617D-4A18-ADC0-F584E266D8B9}" type="datetime1">
              <a:rPr lang="fi-FI" smtClean="0"/>
              <a:t>22.5.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LASSIFICATION  /  PRESENTATION  /  AUTHO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9B8CDF1A-3CDE-4195-AF23-CDCF2878DEB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reeform 7">
            <a:hlinkClick r:id="rId2" tooltip="Twitter"/>
          </p:cNvPr>
          <p:cNvSpPr>
            <a:spLocks noChangeAspect="1" noEditPoints="1"/>
          </p:cNvSpPr>
          <p:nvPr/>
        </p:nvSpPr>
        <p:spPr bwMode="auto">
          <a:xfrm>
            <a:off x="4904629" y="685083"/>
            <a:ext cx="252600" cy="317600"/>
          </a:xfrm>
          <a:custGeom>
            <a:avLst/>
            <a:gdLst>
              <a:gd name="T0" fmla="*/ 1215 w 2806"/>
              <a:gd name="T1" fmla="*/ 2154 h 2806"/>
              <a:gd name="T2" fmla="*/ 1391 w 2806"/>
              <a:gd name="T3" fmla="*/ 2115 h 2806"/>
              <a:gd name="T4" fmla="*/ 1549 w 2806"/>
              <a:gd name="T5" fmla="*/ 2052 h 2806"/>
              <a:gd name="T6" fmla="*/ 1690 w 2806"/>
              <a:gd name="T7" fmla="*/ 1968 h 2806"/>
              <a:gd name="T8" fmla="*/ 1813 w 2806"/>
              <a:gd name="T9" fmla="*/ 1866 h 2806"/>
              <a:gd name="T10" fmla="*/ 1917 w 2806"/>
              <a:gd name="T11" fmla="*/ 1747 h 2806"/>
              <a:gd name="T12" fmla="*/ 2002 w 2806"/>
              <a:gd name="T13" fmla="*/ 1618 h 2806"/>
              <a:gd name="T14" fmla="*/ 2069 w 2806"/>
              <a:gd name="T15" fmla="*/ 1479 h 2806"/>
              <a:gd name="T16" fmla="*/ 2115 w 2806"/>
              <a:gd name="T17" fmla="*/ 1336 h 2806"/>
              <a:gd name="T18" fmla="*/ 2144 w 2806"/>
              <a:gd name="T19" fmla="*/ 1166 h 2806"/>
              <a:gd name="T20" fmla="*/ 2148 w 2806"/>
              <a:gd name="T21" fmla="*/ 1022 h 2806"/>
              <a:gd name="T22" fmla="*/ 2264 w 2806"/>
              <a:gd name="T23" fmla="*/ 918 h 2806"/>
              <a:gd name="T24" fmla="*/ 2340 w 2806"/>
              <a:gd name="T25" fmla="*/ 822 h 2806"/>
              <a:gd name="T26" fmla="*/ 2176 w 2806"/>
              <a:gd name="T27" fmla="*/ 873 h 2806"/>
              <a:gd name="T28" fmla="*/ 2175 w 2806"/>
              <a:gd name="T29" fmla="*/ 842 h 2806"/>
              <a:gd name="T30" fmla="*/ 2242 w 2806"/>
              <a:gd name="T31" fmla="*/ 764 h 2806"/>
              <a:gd name="T32" fmla="*/ 2288 w 2806"/>
              <a:gd name="T33" fmla="*/ 670 h 2806"/>
              <a:gd name="T34" fmla="*/ 2139 w 2806"/>
              <a:gd name="T35" fmla="*/ 738 h 2806"/>
              <a:gd name="T36" fmla="*/ 2016 w 2806"/>
              <a:gd name="T37" fmla="*/ 737 h 2806"/>
              <a:gd name="T38" fmla="*/ 1919 w 2806"/>
              <a:gd name="T39" fmla="*/ 674 h 2806"/>
              <a:gd name="T40" fmla="*/ 1804 w 2806"/>
              <a:gd name="T41" fmla="*/ 644 h 2806"/>
              <a:gd name="T42" fmla="*/ 1685 w 2806"/>
              <a:gd name="T43" fmla="*/ 649 h 2806"/>
              <a:gd name="T44" fmla="*/ 1580 w 2806"/>
              <a:gd name="T45" fmla="*/ 689 h 2806"/>
              <a:gd name="T46" fmla="*/ 1491 w 2806"/>
              <a:gd name="T47" fmla="*/ 754 h 2806"/>
              <a:gd name="T48" fmla="*/ 1425 w 2806"/>
              <a:gd name="T49" fmla="*/ 844 h 2806"/>
              <a:gd name="T50" fmla="*/ 1391 w 2806"/>
              <a:gd name="T51" fmla="*/ 930 h 2806"/>
              <a:gd name="T52" fmla="*/ 1380 w 2806"/>
              <a:gd name="T53" fmla="*/ 1049 h 2806"/>
              <a:gd name="T54" fmla="*/ 1329 w 2806"/>
              <a:gd name="T55" fmla="*/ 1110 h 2806"/>
              <a:gd name="T56" fmla="*/ 1157 w 2806"/>
              <a:gd name="T57" fmla="*/ 1077 h 2806"/>
              <a:gd name="T58" fmla="*/ 995 w 2806"/>
              <a:gd name="T59" fmla="*/ 1019 h 2806"/>
              <a:gd name="T60" fmla="*/ 846 w 2806"/>
              <a:gd name="T61" fmla="*/ 938 h 2806"/>
              <a:gd name="T62" fmla="*/ 713 w 2806"/>
              <a:gd name="T63" fmla="*/ 835 h 2806"/>
              <a:gd name="T64" fmla="*/ 596 w 2806"/>
              <a:gd name="T65" fmla="*/ 712 h 2806"/>
              <a:gd name="T66" fmla="*/ 558 w 2806"/>
              <a:gd name="T67" fmla="*/ 804 h 2806"/>
              <a:gd name="T68" fmla="*/ 544 w 2806"/>
              <a:gd name="T69" fmla="*/ 892 h 2806"/>
              <a:gd name="T70" fmla="*/ 549 w 2806"/>
              <a:gd name="T71" fmla="*/ 967 h 2806"/>
              <a:gd name="T72" fmla="*/ 577 w 2806"/>
              <a:gd name="T73" fmla="*/ 1058 h 2806"/>
              <a:gd name="T74" fmla="*/ 630 w 2806"/>
              <a:gd name="T75" fmla="*/ 1148 h 2806"/>
              <a:gd name="T76" fmla="*/ 704 w 2806"/>
              <a:gd name="T77" fmla="*/ 1225 h 2806"/>
              <a:gd name="T78" fmla="*/ 603 w 2806"/>
              <a:gd name="T79" fmla="*/ 1205 h 2806"/>
              <a:gd name="T80" fmla="*/ 542 w 2806"/>
              <a:gd name="T81" fmla="*/ 1200 h 2806"/>
              <a:gd name="T82" fmla="*/ 559 w 2806"/>
              <a:gd name="T83" fmla="*/ 1299 h 2806"/>
              <a:gd name="T84" fmla="*/ 601 w 2806"/>
              <a:gd name="T85" fmla="*/ 1388 h 2806"/>
              <a:gd name="T86" fmla="*/ 652 w 2806"/>
              <a:gd name="T87" fmla="*/ 1451 h 2806"/>
              <a:gd name="T88" fmla="*/ 728 w 2806"/>
              <a:gd name="T89" fmla="*/ 1512 h 2806"/>
              <a:gd name="T90" fmla="*/ 818 w 2806"/>
              <a:gd name="T91" fmla="*/ 1551 h 2806"/>
              <a:gd name="T92" fmla="*/ 775 w 2806"/>
              <a:gd name="T93" fmla="*/ 1571 h 2806"/>
              <a:gd name="T94" fmla="*/ 682 w 2806"/>
              <a:gd name="T95" fmla="*/ 1580 h 2806"/>
              <a:gd name="T96" fmla="*/ 721 w 2806"/>
              <a:gd name="T97" fmla="*/ 1659 h 2806"/>
              <a:gd name="T98" fmla="*/ 777 w 2806"/>
              <a:gd name="T99" fmla="*/ 1727 h 2806"/>
              <a:gd name="T100" fmla="*/ 848 w 2806"/>
              <a:gd name="T101" fmla="*/ 1779 h 2806"/>
              <a:gd name="T102" fmla="*/ 929 w 2806"/>
              <a:gd name="T103" fmla="*/ 1816 h 2806"/>
              <a:gd name="T104" fmla="*/ 1036 w 2806"/>
              <a:gd name="T105" fmla="*/ 1832 h 2806"/>
              <a:gd name="T106" fmla="*/ 930 w 2806"/>
              <a:gd name="T107" fmla="*/ 1901 h 2806"/>
              <a:gd name="T108" fmla="*/ 770 w 2806"/>
              <a:gd name="T109" fmla="*/ 1968 h 2806"/>
              <a:gd name="T110" fmla="*/ 625 w 2806"/>
              <a:gd name="T111" fmla="*/ 1994 h 2806"/>
              <a:gd name="T112" fmla="*/ 489 w 2806"/>
              <a:gd name="T113" fmla="*/ 1994 h 2806"/>
              <a:gd name="T114" fmla="*/ 600 w 2806"/>
              <a:gd name="T115" fmla="*/ 2065 h 2806"/>
              <a:gd name="T116" fmla="*/ 819 w 2806"/>
              <a:gd name="T117" fmla="*/ 2138 h 2806"/>
              <a:gd name="T118" fmla="*/ 935 w 2806"/>
              <a:gd name="T119" fmla="*/ 2158 h 2806"/>
              <a:gd name="T120" fmla="*/ 0 w 2806"/>
              <a:gd name="T121" fmla="*/ 0 h 2806"/>
              <a:gd name="T122" fmla="*/ 2806 w 2806"/>
              <a:gd name="T123" fmla="*/ 1403 h 2806"/>
              <a:gd name="T124" fmla="*/ 0 w 2806"/>
              <a:gd name="T125" fmla="*/ 2806 h 28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806" h="2806">
                <a:moveTo>
                  <a:pt x="1055" y="2164"/>
                </a:moveTo>
                <a:lnTo>
                  <a:pt x="1089" y="2164"/>
                </a:lnTo>
                <a:lnTo>
                  <a:pt x="1121" y="2162"/>
                </a:lnTo>
                <a:lnTo>
                  <a:pt x="1153" y="2160"/>
                </a:lnTo>
                <a:lnTo>
                  <a:pt x="1184" y="2158"/>
                </a:lnTo>
                <a:lnTo>
                  <a:pt x="1215" y="2154"/>
                </a:lnTo>
                <a:lnTo>
                  <a:pt x="1246" y="2149"/>
                </a:lnTo>
                <a:lnTo>
                  <a:pt x="1276" y="2144"/>
                </a:lnTo>
                <a:lnTo>
                  <a:pt x="1305" y="2138"/>
                </a:lnTo>
                <a:lnTo>
                  <a:pt x="1335" y="2132"/>
                </a:lnTo>
                <a:lnTo>
                  <a:pt x="1364" y="2124"/>
                </a:lnTo>
                <a:lnTo>
                  <a:pt x="1391" y="2115"/>
                </a:lnTo>
                <a:lnTo>
                  <a:pt x="1419" y="2107"/>
                </a:lnTo>
                <a:lnTo>
                  <a:pt x="1446" y="2097"/>
                </a:lnTo>
                <a:lnTo>
                  <a:pt x="1472" y="2087"/>
                </a:lnTo>
                <a:lnTo>
                  <a:pt x="1498" y="2076"/>
                </a:lnTo>
                <a:lnTo>
                  <a:pt x="1524" y="2065"/>
                </a:lnTo>
                <a:lnTo>
                  <a:pt x="1549" y="2052"/>
                </a:lnTo>
                <a:lnTo>
                  <a:pt x="1574" y="2040"/>
                </a:lnTo>
                <a:lnTo>
                  <a:pt x="1599" y="2026"/>
                </a:lnTo>
                <a:lnTo>
                  <a:pt x="1622" y="2013"/>
                </a:lnTo>
                <a:lnTo>
                  <a:pt x="1646" y="1998"/>
                </a:lnTo>
                <a:lnTo>
                  <a:pt x="1668" y="1983"/>
                </a:lnTo>
                <a:lnTo>
                  <a:pt x="1690" y="1968"/>
                </a:lnTo>
                <a:lnTo>
                  <a:pt x="1712" y="1952"/>
                </a:lnTo>
                <a:lnTo>
                  <a:pt x="1733" y="1936"/>
                </a:lnTo>
                <a:lnTo>
                  <a:pt x="1753" y="1919"/>
                </a:lnTo>
                <a:lnTo>
                  <a:pt x="1774" y="1901"/>
                </a:lnTo>
                <a:lnTo>
                  <a:pt x="1794" y="1883"/>
                </a:lnTo>
                <a:lnTo>
                  <a:pt x="1813" y="1866"/>
                </a:lnTo>
                <a:lnTo>
                  <a:pt x="1831" y="1847"/>
                </a:lnTo>
                <a:lnTo>
                  <a:pt x="1850" y="1827"/>
                </a:lnTo>
                <a:lnTo>
                  <a:pt x="1867" y="1807"/>
                </a:lnTo>
                <a:lnTo>
                  <a:pt x="1884" y="1788"/>
                </a:lnTo>
                <a:lnTo>
                  <a:pt x="1900" y="1768"/>
                </a:lnTo>
                <a:lnTo>
                  <a:pt x="1917" y="1747"/>
                </a:lnTo>
                <a:lnTo>
                  <a:pt x="1933" y="1727"/>
                </a:lnTo>
                <a:lnTo>
                  <a:pt x="1947" y="1705"/>
                </a:lnTo>
                <a:lnTo>
                  <a:pt x="1962" y="1684"/>
                </a:lnTo>
                <a:lnTo>
                  <a:pt x="1976" y="1661"/>
                </a:lnTo>
                <a:lnTo>
                  <a:pt x="1990" y="1640"/>
                </a:lnTo>
                <a:lnTo>
                  <a:pt x="2002" y="1618"/>
                </a:lnTo>
                <a:lnTo>
                  <a:pt x="2014" y="1595"/>
                </a:lnTo>
                <a:lnTo>
                  <a:pt x="2027" y="1572"/>
                </a:lnTo>
                <a:lnTo>
                  <a:pt x="2038" y="1549"/>
                </a:lnTo>
                <a:lnTo>
                  <a:pt x="2048" y="1526"/>
                </a:lnTo>
                <a:lnTo>
                  <a:pt x="2059" y="1503"/>
                </a:lnTo>
                <a:lnTo>
                  <a:pt x="2069" y="1479"/>
                </a:lnTo>
                <a:lnTo>
                  <a:pt x="2077" y="1456"/>
                </a:lnTo>
                <a:lnTo>
                  <a:pt x="2086" y="1432"/>
                </a:lnTo>
                <a:lnTo>
                  <a:pt x="2093" y="1408"/>
                </a:lnTo>
                <a:lnTo>
                  <a:pt x="2101" y="1384"/>
                </a:lnTo>
                <a:lnTo>
                  <a:pt x="2108" y="1361"/>
                </a:lnTo>
                <a:lnTo>
                  <a:pt x="2115" y="1336"/>
                </a:lnTo>
                <a:lnTo>
                  <a:pt x="2121" y="1312"/>
                </a:lnTo>
                <a:lnTo>
                  <a:pt x="2126" y="1288"/>
                </a:lnTo>
                <a:lnTo>
                  <a:pt x="2131" y="1263"/>
                </a:lnTo>
                <a:lnTo>
                  <a:pt x="2136" y="1239"/>
                </a:lnTo>
                <a:lnTo>
                  <a:pt x="2138" y="1215"/>
                </a:lnTo>
                <a:lnTo>
                  <a:pt x="2144" y="1166"/>
                </a:lnTo>
                <a:lnTo>
                  <a:pt x="2147" y="1143"/>
                </a:lnTo>
                <a:lnTo>
                  <a:pt x="2148" y="1118"/>
                </a:lnTo>
                <a:lnTo>
                  <a:pt x="2148" y="1095"/>
                </a:lnTo>
                <a:lnTo>
                  <a:pt x="2149" y="1071"/>
                </a:lnTo>
                <a:lnTo>
                  <a:pt x="2148" y="1046"/>
                </a:lnTo>
                <a:lnTo>
                  <a:pt x="2148" y="1022"/>
                </a:lnTo>
                <a:lnTo>
                  <a:pt x="2175" y="1001"/>
                </a:lnTo>
                <a:lnTo>
                  <a:pt x="2189" y="990"/>
                </a:lnTo>
                <a:lnTo>
                  <a:pt x="2202" y="978"/>
                </a:lnTo>
                <a:lnTo>
                  <a:pt x="2228" y="955"/>
                </a:lnTo>
                <a:lnTo>
                  <a:pt x="2252" y="930"/>
                </a:lnTo>
                <a:lnTo>
                  <a:pt x="2264" y="918"/>
                </a:lnTo>
                <a:lnTo>
                  <a:pt x="2275" y="904"/>
                </a:lnTo>
                <a:lnTo>
                  <a:pt x="2288" y="892"/>
                </a:lnTo>
                <a:lnTo>
                  <a:pt x="2299" y="878"/>
                </a:lnTo>
                <a:lnTo>
                  <a:pt x="2320" y="851"/>
                </a:lnTo>
                <a:lnTo>
                  <a:pt x="2330" y="836"/>
                </a:lnTo>
                <a:lnTo>
                  <a:pt x="2340" y="822"/>
                </a:lnTo>
                <a:lnTo>
                  <a:pt x="2314" y="834"/>
                </a:lnTo>
                <a:lnTo>
                  <a:pt x="2286" y="844"/>
                </a:lnTo>
                <a:lnTo>
                  <a:pt x="2259" y="852"/>
                </a:lnTo>
                <a:lnTo>
                  <a:pt x="2232" y="861"/>
                </a:lnTo>
                <a:lnTo>
                  <a:pt x="2205" y="867"/>
                </a:lnTo>
                <a:lnTo>
                  <a:pt x="2176" y="873"/>
                </a:lnTo>
                <a:lnTo>
                  <a:pt x="2148" y="878"/>
                </a:lnTo>
                <a:lnTo>
                  <a:pt x="2118" y="883"/>
                </a:lnTo>
                <a:lnTo>
                  <a:pt x="2133" y="873"/>
                </a:lnTo>
                <a:lnTo>
                  <a:pt x="2148" y="863"/>
                </a:lnTo>
                <a:lnTo>
                  <a:pt x="2162" y="853"/>
                </a:lnTo>
                <a:lnTo>
                  <a:pt x="2175" y="842"/>
                </a:lnTo>
                <a:lnTo>
                  <a:pt x="2188" y="830"/>
                </a:lnTo>
                <a:lnTo>
                  <a:pt x="2200" y="818"/>
                </a:lnTo>
                <a:lnTo>
                  <a:pt x="2211" y="805"/>
                </a:lnTo>
                <a:lnTo>
                  <a:pt x="2222" y="792"/>
                </a:lnTo>
                <a:lnTo>
                  <a:pt x="2232" y="778"/>
                </a:lnTo>
                <a:lnTo>
                  <a:pt x="2242" y="764"/>
                </a:lnTo>
                <a:lnTo>
                  <a:pt x="2252" y="749"/>
                </a:lnTo>
                <a:lnTo>
                  <a:pt x="2261" y="735"/>
                </a:lnTo>
                <a:lnTo>
                  <a:pt x="2268" y="719"/>
                </a:lnTo>
                <a:lnTo>
                  <a:pt x="2275" y="702"/>
                </a:lnTo>
                <a:lnTo>
                  <a:pt x="2282" y="686"/>
                </a:lnTo>
                <a:lnTo>
                  <a:pt x="2288" y="670"/>
                </a:lnTo>
                <a:lnTo>
                  <a:pt x="2259" y="686"/>
                </a:lnTo>
                <a:lnTo>
                  <a:pt x="2231" y="701"/>
                </a:lnTo>
                <a:lnTo>
                  <a:pt x="2201" y="715"/>
                </a:lnTo>
                <a:lnTo>
                  <a:pt x="2170" y="727"/>
                </a:lnTo>
                <a:lnTo>
                  <a:pt x="2155" y="732"/>
                </a:lnTo>
                <a:lnTo>
                  <a:pt x="2139" y="738"/>
                </a:lnTo>
                <a:lnTo>
                  <a:pt x="2108" y="748"/>
                </a:lnTo>
                <a:lnTo>
                  <a:pt x="2092" y="752"/>
                </a:lnTo>
                <a:lnTo>
                  <a:pt x="2076" y="756"/>
                </a:lnTo>
                <a:lnTo>
                  <a:pt x="2044" y="763"/>
                </a:lnTo>
                <a:lnTo>
                  <a:pt x="2030" y="749"/>
                </a:lnTo>
                <a:lnTo>
                  <a:pt x="2016" y="737"/>
                </a:lnTo>
                <a:lnTo>
                  <a:pt x="2001" y="725"/>
                </a:lnTo>
                <a:lnTo>
                  <a:pt x="1986" y="712"/>
                </a:lnTo>
                <a:lnTo>
                  <a:pt x="1970" y="702"/>
                </a:lnTo>
                <a:lnTo>
                  <a:pt x="1954" y="693"/>
                </a:lnTo>
                <a:lnTo>
                  <a:pt x="1936" y="683"/>
                </a:lnTo>
                <a:lnTo>
                  <a:pt x="1919" y="674"/>
                </a:lnTo>
                <a:lnTo>
                  <a:pt x="1900" y="667"/>
                </a:lnTo>
                <a:lnTo>
                  <a:pt x="1882" y="660"/>
                </a:lnTo>
                <a:lnTo>
                  <a:pt x="1863" y="655"/>
                </a:lnTo>
                <a:lnTo>
                  <a:pt x="1844" y="650"/>
                </a:lnTo>
                <a:lnTo>
                  <a:pt x="1824" y="647"/>
                </a:lnTo>
                <a:lnTo>
                  <a:pt x="1804" y="644"/>
                </a:lnTo>
                <a:lnTo>
                  <a:pt x="1784" y="643"/>
                </a:lnTo>
                <a:lnTo>
                  <a:pt x="1763" y="642"/>
                </a:lnTo>
                <a:lnTo>
                  <a:pt x="1743" y="642"/>
                </a:lnTo>
                <a:lnTo>
                  <a:pt x="1724" y="644"/>
                </a:lnTo>
                <a:lnTo>
                  <a:pt x="1705" y="647"/>
                </a:lnTo>
                <a:lnTo>
                  <a:pt x="1685" y="649"/>
                </a:lnTo>
                <a:lnTo>
                  <a:pt x="1667" y="654"/>
                </a:lnTo>
                <a:lnTo>
                  <a:pt x="1649" y="659"/>
                </a:lnTo>
                <a:lnTo>
                  <a:pt x="1631" y="665"/>
                </a:lnTo>
                <a:lnTo>
                  <a:pt x="1613" y="672"/>
                </a:lnTo>
                <a:lnTo>
                  <a:pt x="1596" y="680"/>
                </a:lnTo>
                <a:lnTo>
                  <a:pt x="1580" y="689"/>
                </a:lnTo>
                <a:lnTo>
                  <a:pt x="1564" y="698"/>
                </a:lnTo>
                <a:lnTo>
                  <a:pt x="1548" y="707"/>
                </a:lnTo>
                <a:lnTo>
                  <a:pt x="1533" y="719"/>
                </a:lnTo>
                <a:lnTo>
                  <a:pt x="1518" y="730"/>
                </a:lnTo>
                <a:lnTo>
                  <a:pt x="1505" y="742"/>
                </a:lnTo>
                <a:lnTo>
                  <a:pt x="1491" y="754"/>
                </a:lnTo>
                <a:lnTo>
                  <a:pt x="1479" y="768"/>
                </a:lnTo>
                <a:lnTo>
                  <a:pt x="1466" y="782"/>
                </a:lnTo>
                <a:lnTo>
                  <a:pt x="1455" y="796"/>
                </a:lnTo>
                <a:lnTo>
                  <a:pt x="1444" y="811"/>
                </a:lnTo>
                <a:lnTo>
                  <a:pt x="1434" y="827"/>
                </a:lnTo>
                <a:lnTo>
                  <a:pt x="1425" y="844"/>
                </a:lnTo>
                <a:lnTo>
                  <a:pt x="1420" y="851"/>
                </a:lnTo>
                <a:lnTo>
                  <a:pt x="1417" y="860"/>
                </a:lnTo>
                <a:lnTo>
                  <a:pt x="1409" y="877"/>
                </a:lnTo>
                <a:lnTo>
                  <a:pt x="1402" y="894"/>
                </a:lnTo>
                <a:lnTo>
                  <a:pt x="1396" y="912"/>
                </a:lnTo>
                <a:lnTo>
                  <a:pt x="1391" y="930"/>
                </a:lnTo>
                <a:lnTo>
                  <a:pt x="1387" y="949"/>
                </a:lnTo>
                <a:lnTo>
                  <a:pt x="1383" y="967"/>
                </a:lnTo>
                <a:lnTo>
                  <a:pt x="1381" y="987"/>
                </a:lnTo>
                <a:lnTo>
                  <a:pt x="1380" y="1007"/>
                </a:lnTo>
                <a:lnTo>
                  <a:pt x="1378" y="1027"/>
                </a:lnTo>
                <a:lnTo>
                  <a:pt x="1380" y="1049"/>
                </a:lnTo>
                <a:lnTo>
                  <a:pt x="1381" y="1060"/>
                </a:lnTo>
                <a:lnTo>
                  <a:pt x="1381" y="1071"/>
                </a:lnTo>
                <a:lnTo>
                  <a:pt x="1385" y="1092"/>
                </a:lnTo>
                <a:lnTo>
                  <a:pt x="1388" y="1113"/>
                </a:lnTo>
                <a:lnTo>
                  <a:pt x="1359" y="1112"/>
                </a:lnTo>
                <a:lnTo>
                  <a:pt x="1329" y="1110"/>
                </a:lnTo>
                <a:lnTo>
                  <a:pt x="1300" y="1106"/>
                </a:lnTo>
                <a:lnTo>
                  <a:pt x="1271" y="1101"/>
                </a:lnTo>
                <a:lnTo>
                  <a:pt x="1242" y="1096"/>
                </a:lnTo>
                <a:lnTo>
                  <a:pt x="1214" y="1091"/>
                </a:lnTo>
                <a:lnTo>
                  <a:pt x="1185" y="1085"/>
                </a:lnTo>
                <a:lnTo>
                  <a:pt x="1157" y="1077"/>
                </a:lnTo>
                <a:lnTo>
                  <a:pt x="1130" y="1069"/>
                </a:lnTo>
                <a:lnTo>
                  <a:pt x="1101" y="1060"/>
                </a:lnTo>
                <a:lnTo>
                  <a:pt x="1075" y="1051"/>
                </a:lnTo>
                <a:lnTo>
                  <a:pt x="1048" y="1041"/>
                </a:lnTo>
                <a:lnTo>
                  <a:pt x="1021" y="1030"/>
                </a:lnTo>
                <a:lnTo>
                  <a:pt x="995" y="1019"/>
                </a:lnTo>
                <a:lnTo>
                  <a:pt x="970" y="1007"/>
                </a:lnTo>
                <a:lnTo>
                  <a:pt x="944" y="994"/>
                </a:lnTo>
                <a:lnTo>
                  <a:pt x="919" y="981"/>
                </a:lnTo>
                <a:lnTo>
                  <a:pt x="895" y="967"/>
                </a:lnTo>
                <a:lnTo>
                  <a:pt x="870" y="952"/>
                </a:lnTo>
                <a:lnTo>
                  <a:pt x="846" y="938"/>
                </a:lnTo>
                <a:lnTo>
                  <a:pt x="823" y="921"/>
                </a:lnTo>
                <a:lnTo>
                  <a:pt x="801" y="905"/>
                </a:lnTo>
                <a:lnTo>
                  <a:pt x="777" y="888"/>
                </a:lnTo>
                <a:lnTo>
                  <a:pt x="756" y="871"/>
                </a:lnTo>
                <a:lnTo>
                  <a:pt x="734" y="853"/>
                </a:lnTo>
                <a:lnTo>
                  <a:pt x="713" y="835"/>
                </a:lnTo>
                <a:lnTo>
                  <a:pt x="692" y="815"/>
                </a:lnTo>
                <a:lnTo>
                  <a:pt x="672" y="795"/>
                </a:lnTo>
                <a:lnTo>
                  <a:pt x="652" y="775"/>
                </a:lnTo>
                <a:lnTo>
                  <a:pt x="634" y="754"/>
                </a:lnTo>
                <a:lnTo>
                  <a:pt x="615" y="733"/>
                </a:lnTo>
                <a:lnTo>
                  <a:pt x="596" y="712"/>
                </a:lnTo>
                <a:lnTo>
                  <a:pt x="585" y="735"/>
                </a:lnTo>
                <a:lnTo>
                  <a:pt x="580" y="746"/>
                </a:lnTo>
                <a:lnTo>
                  <a:pt x="574" y="757"/>
                </a:lnTo>
                <a:lnTo>
                  <a:pt x="565" y="780"/>
                </a:lnTo>
                <a:lnTo>
                  <a:pt x="562" y="792"/>
                </a:lnTo>
                <a:lnTo>
                  <a:pt x="558" y="804"/>
                </a:lnTo>
                <a:lnTo>
                  <a:pt x="556" y="816"/>
                </a:lnTo>
                <a:lnTo>
                  <a:pt x="553" y="829"/>
                </a:lnTo>
                <a:lnTo>
                  <a:pt x="548" y="853"/>
                </a:lnTo>
                <a:lnTo>
                  <a:pt x="547" y="866"/>
                </a:lnTo>
                <a:lnTo>
                  <a:pt x="546" y="879"/>
                </a:lnTo>
                <a:lnTo>
                  <a:pt x="544" y="892"/>
                </a:lnTo>
                <a:lnTo>
                  <a:pt x="544" y="905"/>
                </a:lnTo>
                <a:lnTo>
                  <a:pt x="544" y="918"/>
                </a:lnTo>
                <a:lnTo>
                  <a:pt x="546" y="930"/>
                </a:lnTo>
                <a:lnTo>
                  <a:pt x="547" y="942"/>
                </a:lnTo>
                <a:lnTo>
                  <a:pt x="548" y="955"/>
                </a:lnTo>
                <a:lnTo>
                  <a:pt x="549" y="967"/>
                </a:lnTo>
                <a:lnTo>
                  <a:pt x="552" y="978"/>
                </a:lnTo>
                <a:lnTo>
                  <a:pt x="557" y="1002"/>
                </a:lnTo>
                <a:lnTo>
                  <a:pt x="561" y="1013"/>
                </a:lnTo>
                <a:lnTo>
                  <a:pt x="564" y="1025"/>
                </a:lnTo>
                <a:lnTo>
                  <a:pt x="572" y="1048"/>
                </a:lnTo>
                <a:lnTo>
                  <a:pt x="577" y="1058"/>
                </a:lnTo>
                <a:lnTo>
                  <a:pt x="582" y="1069"/>
                </a:lnTo>
                <a:lnTo>
                  <a:pt x="591" y="1090"/>
                </a:lnTo>
                <a:lnTo>
                  <a:pt x="604" y="1110"/>
                </a:lnTo>
                <a:lnTo>
                  <a:pt x="610" y="1119"/>
                </a:lnTo>
                <a:lnTo>
                  <a:pt x="616" y="1129"/>
                </a:lnTo>
                <a:lnTo>
                  <a:pt x="630" y="1148"/>
                </a:lnTo>
                <a:lnTo>
                  <a:pt x="646" y="1165"/>
                </a:lnTo>
                <a:lnTo>
                  <a:pt x="662" y="1181"/>
                </a:lnTo>
                <a:lnTo>
                  <a:pt x="679" y="1197"/>
                </a:lnTo>
                <a:lnTo>
                  <a:pt x="697" y="1212"/>
                </a:lnTo>
                <a:lnTo>
                  <a:pt x="715" y="1226"/>
                </a:lnTo>
                <a:lnTo>
                  <a:pt x="704" y="1225"/>
                </a:lnTo>
                <a:lnTo>
                  <a:pt x="692" y="1223"/>
                </a:lnTo>
                <a:lnTo>
                  <a:pt x="669" y="1221"/>
                </a:lnTo>
                <a:lnTo>
                  <a:pt x="658" y="1220"/>
                </a:lnTo>
                <a:lnTo>
                  <a:pt x="647" y="1217"/>
                </a:lnTo>
                <a:lnTo>
                  <a:pt x="625" y="1211"/>
                </a:lnTo>
                <a:lnTo>
                  <a:pt x="603" y="1205"/>
                </a:lnTo>
                <a:lnTo>
                  <a:pt x="582" y="1196"/>
                </a:lnTo>
                <a:lnTo>
                  <a:pt x="562" y="1187"/>
                </a:lnTo>
                <a:lnTo>
                  <a:pt x="552" y="1183"/>
                </a:lnTo>
                <a:lnTo>
                  <a:pt x="542" y="1178"/>
                </a:lnTo>
                <a:lnTo>
                  <a:pt x="542" y="1183"/>
                </a:lnTo>
                <a:lnTo>
                  <a:pt x="542" y="1200"/>
                </a:lnTo>
                <a:lnTo>
                  <a:pt x="543" y="1217"/>
                </a:lnTo>
                <a:lnTo>
                  <a:pt x="544" y="1233"/>
                </a:lnTo>
                <a:lnTo>
                  <a:pt x="548" y="1251"/>
                </a:lnTo>
                <a:lnTo>
                  <a:pt x="551" y="1267"/>
                </a:lnTo>
                <a:lnTo>
                  <a:pt x="556" y="1283"/>
                </a:lnTo>
                <a:lnTo>
                  <a:pt x="559" y="1299"/>
                </a:lnTo>
                <a:lnTo>
                  <a:pt x="565" y="1315"/>
                </a:lnTo>
                <a:lnTo>
                  <a:pt x="572" y="1330"/>
                </a:lnTo>
                <a:lnTo>
                  <a:pt x="578" y="1345"/>
                </a:lnTo>
                <a:lnTo>
                  <a:pt x="585" y="1359"/>
                </a:lnTo>
                <a:lnTo>
                  <a:pt x="593" y="1374"/>
                </a:lnTo>
                <a:lnTo>
                  <a:pt x="601" y="1388"/>
                </a:lnTo>
                <a:lnTo>
                  <a:pt x="610" y="1402"/>
                </a:lnTo>
                <a:lnTo>
                  <a:pt x="620" y="1414"/>
                </a:lnTo>
                <a:lnTo>
                  <a:pt x="625" y="1421"/>
                </a:lnTo>
                <a:lnTo>
                  <a:pt x="630" y="1428"/>
                </a:lnTo>
                <a:lnTo>
                  <a:pt x="641" y="1440"/>
                </a:lnTo>
                <a:lnTo>
                  <a:pt x="652" y="1451"/>
                </a:lnTo>
                <a:lnTo>
                  <a:pt x="663" y="1462"/>
                </a:lnTo>
                <a:lnTo>
                  <a:pt x="676" y="1473"/>
                </a:lnTo>
                <a:lnTo>
                  <a:pt x="688" y="1483"/>
                </a:lnTo>
                <a:lnTo>
                  <a:pt x="700" y="1493"/>
                </a:lnTo>
                <a:lnTo>
                  <a:pt x="714" y="1503"/>
                </a:lnTo>
                <a:lnTo>
                  <a:pt x="728" y="1512"/>
                </a:lnTo>
                <a:lnTo>
                  <a:pt x="741" y="1519"/>
                </a:lnTo>
                <a:lnTo>
                  <a:pt x="756" y="1526"/>
                </a:lnTo>
                <a:lnTo>
                  <a:pt x="771" y="1534"/>
                </a:lnTo>
                <a:lnTo>
                  <a:pt x="786" y="1540"/>
                </a:lnTo>
                <a:lnTo>
                  <a:pt x="802" y="1546"/>
                </a:lnTo>
                <a:lnTo>
                  <a:pt x="818" y="1551"/>
                </a:lnTo>
                <a:lnTo>
                  <a:pt x="834" y="1555"/>
                </a:lnTo>
                <a:lnTo>
                  <a:pt x="850" y="1559"/>
                </a:lnTo>
                <a:lnTo>
                  <a:pt x="825" y="1565"/>
                </a:lnTo>
                <a:lnTo>
                  <a:pt x="801" y="1569"/>
                </a:lnTo>
                <a:lnTo>
                  <a:pt x="787" y="1570"/>
                </a:lnTo>
                <a:lnTo>
                  <a:pt x="775" y="1571"/>
                </a:lnTo>
                <a:lnTo>
                  <a:pt x="749" y="1572"/>
                </a:lnTo>
                <a:lnTo>
                  <a:pt x="730" y="1572"/>
                </a:lnTo>
                <a:lnTo>
                  <a:pt x="711" y="1571"/>
                </a:lnTo>
                <a:lnTo>
                  <a:pt x="694" y="1569"/>
                </a:lnTo>
                <a:lnTo>
                  <a:pt x="677" y="1565"/>
                </a:lnTo>
                <a:lnTo>
                  <a:pt x="682" y="1580"/>
                </a:lnTo>
                <a:lnTo>
                  <a:pt x="687" y="1593"/>
                </a:lnTo>
                <a:lnTo>
                  <a:pt x="693" y="1607"/>
                </a:lnTo>
                <a:lnTo>
                  <a:pt x="699" y="1621"/>
                </a:lnTo>
                <a:lnTo>
                  <a:pt x="705" y="1634"/>
                </a:lnTo>
                <a:lnTo>
                  <a:pt x="713" y="1647"/>
                </a:lnTo>
                <a:lnTo>
                  <a:pt x="721" y="1659"/>
                </a:lnTo>
                <a:lnTo>
                  <a:pt x="730" y="1671"/>
                </a:lnTo>
                <a:lnTo>
                  <a:pt x="739" y="1682"/>
                </a:lnTo>
                <a:lnTo>
                  <a:pt x="747" y="1695"/>
                </a:lnTo>
                <a:lnTo>
                  <a:pt x="757" y="1706"/>
                </a:lnTo>
                <a:lnTo>
                  <a:pt x="767" y="1716"/>
                </a:lnTo>
                <a:lnTo>
                  <a:pt x="777" y="1727"/>
                </a:lnTo>
                <a:lnTo>
                  <a:pt x="788" y="1737"/>
                </a:lnTo>
                <a:lnTo>
                  <a:pt x="799" y="1745"/>
                </a:lnTo>
                <a:lnTo>
                  <a:pt x="812" y="1755"/>
                </a:lnTo>
                <a:lnTo>
                  <a:pt x="823" y="1764"/>
                </a:lnTo>
                <a:lnTo>
                  <a:pt x="835" y="1771"/>
                </a:lnTo>
                <a:lnTo>
                  <a:pt x="848" y="1779"/>
                </a:lnTo>
                <a:lnTo>
                  <a:pt x="861" y="1786"/>
                </a:lnTo>
                <a:lnTo>
                  <a:pt x="874" y="1794"/>
                </a:lnTo>
                <a:lnTo>
                  <a:pt x="887" y="1800"/>
                </a:lnTo>
                <a:lnTo>
                  <a:pt x="901" y="1806"/>
                </a:lnTo>
                <a:lnTo>
                  <a:pt x="916" y="1811"/>
                </a:lnTo>
                <a:lnTo>
                  <a:pt x="929" y="1816"/>
                </a:lnTo>
                <a:lnTo>
                  <a:pt x="944" y="1820"/>
                </a:lnTo>
                <a:lnTo>
                  <a:pt x="974" y="1826"/>
                </a:lnTo>
                <a:lnTo>
                  <a:pt x="989" y="1828"/>
                </a:lnTo>
                <a:lnTo>
                  <a:pt x="1005" y="1831"/>
                </a:lnTo>
                <a:lnTo>
                  <a:pt x="1020" y="1832"/>
                </a:lnTo>
                <a:lnTo>
                  <a:pt x="1036" y="1832"/>
                </a:lnTo>
                <a:lnTo>
                  <a:pt x="1011" y="1851"/>
                </a:lnTo>
                <a:lnTo>
                  <a:pt x="997" y="1861"/>
                </a:lnTo>
                <a:lnTo>
                  <a:pt x="985" y="1869"/>
                </a:lnTo>
                <a:lnTo>
                  <a:pt x="971" y="1878"/>
                </a:lnTo>
                <a:lnTo>
                  <a:pt x="958" y="1885"/>
                </a:lnTo>
                <a:lnTo>
                  <a:pt x="930" y="1901"/>
                </a:lnTo>
                <a:lnTo>
                  <a:pt x="903" y="1916"/>
                </a:lnTo>
                <a:lnTo>
                  <a:pt x="874" y="1930"/>
                </a:lnTo>
                <a:lnTo>
                  <a:pt x="845" y="1942"/>
                </a:lnTo>
                <a:lnTo>
                  <a:pt x="815" y="1953"/>
                </a:lnTo>
                <a:lnTo>
                  <a:pt x="784" y="1963"/>
                </a:lnTo>
                <a:lnTo>
                  <a:pt x="770" y="1968"/>
                </a:lnTo>
                <a:lnTo>
                  <a:pt x="754" y="1972"/>
                </a:lnTo>
                <a:lnTo>
                  <a:pt x="723" y="1979"/>
                </a:lnTo>
                <a:lnTo>
                  <a:pt x="690" y="1986"/>
                </a:lnTo>
                <a:lnTo>
                  <a:pt x="658" y="1990"/>
                </a:lnTo>
                <a:lnTo>
                  <a:pt x="641" y="1993"/>
                </a:lnTo>
                <a:lnTo>
                  <a:pt x="625" y="1994"/>
                </a:lnTo>
                <a:lnTo>
                  <a:pt x="591" y="1997"/>
                </a:lnTo>
                <a:lnTo>
                  <a:pt x="575" y="1997"/>
                </a:lnTo>
                <a:lnTo>
                  <a:pt x="558" y="1997"/>
                </a:lnTo>
                <a:lnTo>
                  <a:pt x="535" y="1997"/>
                </a:lnTo>
                <a:lnTo>
                  <a:pt x="512" y="1995"/>
                </a:lnTo>
                <a:lnTo>
                  <a:pt x="489" y="1994"/>
                </a:lnTo>
                <a:lnTo>
                  <a:pt x="466" y="1992"/>
                </a:lnTo>
                <a:lnTo>
                  <a:pt x="499" y="2012"/>
                </a:lnTo>
                <a:lnTo>
                  <a:pt x="532" y="2030"/>
                </a:lnTo>
                <a:lnTo>
                  <a:pt x="548" y="2039"/>
                </a:lnTo>
                <a:lnTo>
                  <a:pt x="565" y="2047"/>
                </a:lnTo>
                <a:lnTo>
                  <a:pt x="600" y="2065"/>
                </a:lnTo>
                <a:lnTo>
                  <a:pt x="635" y="2080"/>
                </a:lnTo>
                <a:lnTo>
                  <a:pt x="671" y="2094"/>
                </a:lnTo>
                <a:lnTo>
                  <a:pt x="707" y="2107"/>
                </a:lnTo>
                <a:lnTo>
                  <a:pt x="744" y="2119"/>
                </a:lnTo>
                <a:lnTo>
                  <a:pt x="781" y="2129"/>
                </a:lnTo>
                <a:lnTo>
                  <a:pt x="819" y="2138"/>
                </a:lnTo>
                <a:lnTo>
                  <a:pt x="838" y="2143"/>
                </a:lnTo>
                <a:lnTo>
                  <a:pt x="857" y="2146"/>
                </a:lnTo>
                <a:lnTo>
                  <a:pt x="876" y="2149"/>
                </a:lnTo>
                <a:lnTo>
                  <a:pt x="896" y="2153"/>
                </a:lnTo>
                <a:lnTo>
                  <a:pt x="916" y="2155"/>
                </a:lnTo>
                <a:lnTo>
                  <a:pt x="935" y="2158"/>
                </a:lnTo>
                <a:lnTo>
                  <a:pt x="975" y="2161"/>
                </a:lnTo>
                <a:lnTo>
                  <a:pt x="995" y="2162"/>
                </a:lnTo>
                <a:lnTo>
                  <a:pt x="1015" y="2164"/>
                </a:lnTo>
                <a:lnTo>
                  <a:pt x="1036" y="2164"/>
                </a:lnTo>
                <a:lnTo>
                  <a:pt x="1055" y="2164"/>
                </a:lnTo>
                <a:close/>
                <a:moveTo>
                  <a:pt x="0" y="0"/>
                </a:moveTo>
                <a:lnTo>
                  <a:pt x="702" y="0"/>
                </a:lnTo>
                <a:lnTo>
                  <a:pt x="1403" y="0"/>
                </a:lnTo>
                <a:lnTo>
                  <a:pt x="2105" y="0"/>
                </a:lnTo>
                <a:lnTo>
                  <a:pt x="2806" y="0"/>
                </a:lnTo>
                <a:lnTo>
                  <a:pt x="2806" y="701"/>
                </a:lnTo>
                <a:lnTo>
                  <a:pt x="2806" y="1403"/>
                </a:lnTo>
                <a:lnTo>
                  <a:pt x="2806" y="2104"/>
                </a:lnTo>
                <a:lnTo>
                  <a:pt x="2806" y="2806"/>
                </a:lnTo>
                <a:lnTo>
                  <a:pt x="2105" y="2806"/>
                </a:lnTo>
                <a:lnTo>
                  <a:pt x="1403" y="2806"/>
                </a:lnTo>
                <a:lnTo>
                  <a:pt x="702" y="2806"/>
                </a:lnTo>
                <a:lnTo>
                  <a:pt x="0" y="2806"/>
                </a:lnTo>
                <a:lnTo>
                  <a:pt x="0" y="2104"/>
                </a:lnTo>
                <a:lnTo>
                  <a:pt x="0" y="1403"/>
                </a:lnTo>
                <a:lnTo>
                  <a:pt x="0" y="701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0201" tIns="40100" rIns="80201" bIns="40100" numCol="1" anchor="t" anchorCtr="0" compatLnSpc="1">
            <a:prstTxWarp prst="textNoShape">
              <a:avLst/>
            </a:prstTxWarp>
          </a:bodyPr>
          <a:lstStyle/>
          <a:p>
            <a:endParaRPr lang="en-GB" sz="1579"/>
          </a:p>
        </p:txBody>
      </p:sp>
      <p:sp>
        <p:nvSpPr>
          <p:cNvPr id="8" name="Freeform 8">
            <a:hlinkClick r:id="rId3" tooltip="Facebook"/>
          </p:cNvPr>
          <p:cNvSpPr>
            <a:spLocks noChangeAspect="1" noEditPoints="1"/>
          </p:cNvSpPr>
          <p:nvPr/>
        </p:nvSpPr>
        <p:spPr bwMode="auto">
          <a:xfrm>
            <a:off x="4588387" y="684481"/>
            <a:ext cx="253051" cy="317600"/>
          </a:xfrm>
          <a:custGeom>
            <a:avLst/>
            <a:gdLst>
              <a:gd name="T0" fmla="*/ 1541 w 2807"/>
              <a:gd name="T1" fmla="*/ 2287 h 2806"/>
              <a:gd name="T2" fmla="*/ 1541 w 2807"/>
              <a:gd name="T3" fmla="*/ 1481 h 2806"/>
              <a:gd name="T4" fmla="*/ 1812 w 2807"/>
              <a:gd name="T5" fmla="*/ 1481 h 2806"/>
              <a:gd name="T6" fmla="*/ 1853 w 2807"/>
              <a:gd name="T7" fmla="*/ 1166 h 2806"/>
              <a:gd name="T8" fmla="*/ 1541 w 2807"/>
              <a:gd name="T9" fmla="*/ 1166 h 2806"/>
              <a:gd name="T10" fmla="*/ 1541 w 2807"/>
              <a:gd name="T11" fmla="*/ 965 h 2806"/>
              <a:gd name="T12" fmla="*/ 1542 w 2807"/>
              <a:gd name="T13" fmla="*/ 933 h 2806"/>
              <a:gd name="T14" fmla="*/ 1547 w 2807"/>
              <a:gd name="T15" fmla="*/ 903 h 2806"/>
              <a:gd name="T16" fmla="*/ 1556 w 2807"/>
              <a:gd name="T17" fmla="*/ 877 h 2806"/>
              <a:gd name="T18" fmla="*/ 1569 w 2807"/>
              <a:gd name="T19" fmla="*/ 855 h 2806"/>
              <a:gd name="T20" fmla="*/ 1590 w 2807"/>
              <a:gd name="T21" fmla="*/ 837 h 2806"/>
              <a:gd name="T22" fmla="*/ 1618 w 2807"/>
              <a:gd name="T23" fmla="*/ 824 h 2806"/>
              <a:gd name="T24" fmla="*/ 1652 w 2807"/>
              <a:gd name="T25" fmla="*/ 815 h 2806"/>
              <a:gd name="T26" fmla="*/ 1673 w 2807"/>
              <a:gd name="T27" fmla="*/ 813 h 2806"/>
              <a:gd name="T28" fmla="*/ 1697 w 2807"/>
              <a:gd name="T29" fmla="*/ 813 h 2806"/>
              <a:gd name="T30" fmla="*/ 1862 w 2807"/>
              <a:gd name="T31" fmla="*/ 813 h 2806"/>
              <a:gd name="T32" fmla="*/ 1862 w 2807"/>
              <a:gd name="T33" fmla="*/ 530 h 2806"/>
              <a:gd name="T34" fmla="*/ 1773 w 2807"/>
              <a:gd name="T35" fmla="*/ 523 h 2806"/>
              <a:gd name="T36" fmla="*/ 1703 w 2807"/>
              <a:gd name="T37" fmla="*/ 521 h 2806"/>
              <a:gd name="T38" fmla="*/ 1620 w 2807"/>
              <a:gd name="T39" fmla="*/ 518 h 2806"/>
              <a:gd name="T40" fmla="*/ 1577 w 2807"/>
              <a:gd name="T41" fmla="*/ 521 h 2806"/>
              <a:gd name="T42" fmla="*/ 1535 w 2807"/>
              <a:gd name="T43" fmla="*/ 526 h 2806"/>
              <a:gd name="T44" fmla="*/ 1494 w 2807"/>
              <a:gd name="T45" fmla="*/ 534 h 2806"/>
              <a:gd name="T46" fmla="*/ 1455 w 2807"/>
              <a:gd name="T47" fmla="*/ 545 h 2806"/>
              <a:gd name="T48" fmla="*/ 1420 w 2807"/>
              <a:gd name="T49" fmla="*/ 560 h 2806"/>
              <a:gd name="T50" fmla="*/ 1387 w 2807"/>
              <a:gd name="T51" fmla="*/ 579 h 2806"/>
              <a:gd name="T52" fmla="*/ 1356 w 2807"/>
              <a:gd name="T53" fmla="*/ 601 h 2806"/>
              <a:gd name="T54" fmla="*/ 1328 w 2807"/>
              <a:gd name="T55" fmla="*/ 626 h 2806"/>
              <a:gd name="T56" fmla="*/ 1303 w 2807"/>
              <a:gd name="T57" fmla="*/ 653 h 2806"/>
              <a:gd name="T58" fmla="*/ 1281 w 2807"/>
              <a:gd name="T59" fmla="*/ 684 h 2806"/>
              <a:gd name="T60" fmla="*/ 1261 w 2807"/>
              <a:gd name="T61" fmla="*/ 719 h 2806"/>
              <a:gd name="T62" fmla="*/ 1245 w 2807"/>
              <a:gd name="T63" fmla="*/ 756 h 2806"/>
              <a:gd name="T64" fmla="*/ 1233 w 2807"/>
              <a:gd name="T65" fmla="*/ 796 h 2806"/>
              <a:gd name="T66" fmla="*/ 1224 w 2807"/>
              <a:gd name="T67" fmla="*/ 839 h 2806"/>
              <a:gd name="T68" fmla="*/ 1218 w 2807"/>
              <a:gd name="T69" fmla="*/ 886 h 2806"/>
              <a:gd name="T70" fmla="*/ 1215 w 2807"/>
              <a:gd name="T71" fmla="*/ 934 h 2806"/>
              <a:gd name="T72" fmla="*/ 1215 w 2807"/>
              <a:gd name="T73" fmla="*/ 1166 h 2806"/>
              <a:gd name="T74" fmla="*/ 944 w 2807"/>
              <a:gd name="T75" fmla="*/ 1166 h 2806"/>
              <a:gd name="T76" fmla="*/ 944 w 2807"/>
              <a:gd name="T77" fmla="*/ 1481 h 2806"/>
              <a:gd name="T78" fmla="*/ 1215 w 2807"/>
              <a:gd name="T79" fmla="*/ 1481 h 2806"/>
              <a:gd name="T80" fmla="*/ 1215 w 2807"/>
              <a:gd name="T81" fmla="*/ 2287 h 2806"/>
              <a:gd name="T82" fmla="*/ 1541 w 2807"/>
              <a:gd name="T83" fmla="*/ 2287 h 2806"/>
              <a:gd name="T84" fmla="*/ 0 w 2807"/>
              <a:gd name="T85" fmla="*/ 0 h 2806"/>
              <a:gd name="T86" fmla="*/ 702 w 2807"/>
              <a:gd name="T87" fmla="*/ 0 h 2806"/>
              <a:gd name="T88" fmla="*/ 1403 w 2807"/>
              <a:gd name="T89" fmla="*/ 0 h 2806"/>
              <a:gd name="T90" fmla="*/ 2105 w 2807"/>
              <a:gd name="T91" fmla="*/ 0 h 2806"/>
              <a:gd name="T92" fmla="*/ 2807 w 2807"/>
              <a:gd name="T93" fmla="*/ 0 h 2806"/>
              <a:gd name="T94" fmla="*/ 2807 w 2807"/>
              <a:gd name="T95" fmla="*/ 701 h 2806"/>
              <a:gd name="T96" fmla="*/ 2807 w 2807"/>
              <a:gd name="T97" fmla="*/ 1403 h 2806"/>
              <a:gd name="T98" fmla="*/ 2807 w 2807"/>
              <a:gd name="T99" fmla="*/ 2104 h 2806"/>
              <a:gd name="T100" fmla="*/ 2807 w 2807"/>
              <a:gd name="T101" fmla="*/ 2806 h 2806"/>
              <a:gd name="T102" fmla="*/ 2105 w 2807"/>
              <a:gd name="T103" fmla="*/ 2806 h 2806"/>
              <a:gd name="T104" fmla="*/ 1403 w 2807"/>
              <a:gd name="T105" fmla="*/ 2806 h 2806"/>
              <a:gd name="T106" fmla="*/ 702 w 2807"/>
              <a:gd name="T107" fmla="*/ 2806 h 2806"/>
              <a:gd name="T108" fmla="*/ 0 w 2807"/>
              <a:gd name="T109" fmla="*/ 2806 h 2806"/>
              <a:gd name="T110" fmla="*/ 0 w 2807"/>
              <a:gd name="T111" fmla="*/ 2104 h 2806"/>
              <a:gd name="T112" fmla="*/ 0 w 2807"/>
              <a:gd name="T113" fmla="*/ 1403 h 2806"/>
              <a:gd name="T114" fmla="*/ 0 w 2807"/>
              <a:gd name="T115" fmla="*/ 701 h 2806"/>
              <a:gd name="T116" fmla="*/ 0 w 2807"/>
              <a:gd name="T117" fmla="*/ 0 h 28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807" h="2806">
                <a:moveTo>
                  <a:pt x="1541" y="2287"/>
                </a:moveTo>
                <a:lnTo>
                  <a:pt x="1541" y="1481"/>
                </a:lnTo>
                <a:lnTo>
                  <a:pt x="1812" y="1481"/>
                </a:lnTo>
                <a:lnTo>
                  <a:pt x="1853" y="1166"/>
                </a:lnTo>
                <a:lnTo>
                  <a:pt x="1541" y="1166"/>
                </a:lnTo>
                <a:lnTo>
                  <a:pt x="1541" y="965"/>
                </a:lnTo>
                <a:lnTo>
                  <a:pt x="1542" y="933"/>
                </a:lnTo>
                <a:lnTo>
                  <a:pt x="1547" y="903"/>
                </a:lnTo>
                <a:lnTo>
                  <a:pt x="1556" y="877"/>
                </a:lnTo>
                <a:lnTo>
                  <a:pt x="1569" y="855"/>
                </a:lnTo>
                <a:lnTo>
                  <a:pt x="1590" y="837"/>
                </a:lnTo>
                <a:lnTo>
                  <a:pt x="1618" y="824"/>
                </a:lnTo>
                <a:lnTo>
                  <a:pt x="1652" y="815"/>
                </a:lnTo>
                <a:lnTo>
                  <a:pt x="1673" y="813"/>
                </a:lnTo>
                <a:lnTo>
                  <a:pt x="1697" y="813"/>
                </a:lnTo>
                <a:lnTo>
                  <a:pt x="1862" y="813"/>
                </a:lnTo>
                <a:lnTo>
                  <a:pt x="1862" y="530"/>
                </a:lnTo>
                <a:lnTo>
                  <a:pt x="1773" y="523"/>
                </a:lnTo>
                <a:lnTo>
                  <a:pt x="1703" y="521"/>
                </a:lnTo>
                <a:lnTo>
                  <a:pt x="1620" y="518"/>
                </a:lnTo>
                <a:lnTo>
                  <a:pt x="1577" y="521"/>
                </a:lnTo>
                <a:lnTo>
                  <a:pt x="1535" y="526"/>
                </a:lnTo>
                <a:lnTo>
                  <a:pt x="1494" y="534"/>
                </a:lnTo>
                <a:lnTo>
                  <a:pt x="1455" y="545"/>
                </a:lnTo>
                <a:lnTo>
                  <a:pt x="1420" y="560"/>
                </a:lnTo>
                <a:lnTo>
                  <a:pt x="1387" y="579"/>
                </a:lnTo>
                <a:lnTo>
                  <a:pt x="1356" y="601"/>
                </a:lnTo>
                <a:lnTo>
                  <a:pt x="1328" y="626"/>
                </a:lnTo>
                <a:lnTo>
                  <a:pt x="1303" y="653"/>
                </a:lnTo>
                <a:lnTo>
                  <a:pt x="1281" y="684"/>
                </a:lnTo>
                <a:lnTo>
                  <a:pt x="1261" y="719"/>
                </a:lnTo>
                <a:lnTo>
                  <a:pt x="1245" y="756"/>
                </a:lnTo>
                <a:lnTo>
                  <a:pt x="1233" y="796"/>
                </a:lnTo>
                <a:lnTo>
                  <a:pt x="1224" y="839"/>
                </a:lnTo>
                <a:lnTo>
                  <a:pt x="1218" y="886"/>
                </a:lnTo>
                <a:lnTo>
                  <a:pt x="1215" y="934"/>
                </a:lnTo>
                <a:lnTo>
                  <a:pt x="1215" y="1166"/>
                </a:lnTo>
                <a:lnTo>
                  <a:pt x="944" y="1166"/>
                </a:lnTo>
                <a:lnTo>
                  <a:pt x="944" y="1481"/>
                </a:lnTo>
                <a:lnTo>
                  <a:pt x="1215" y="1481"/>
                </a:lnTo>
                <a:lnTo>
                  <a:pt x="1215" y="2287"/>
                </a:lnTo>
                <a:lnTo>
                  <a:pt x="1541" y="2287"/>
                </a:lnTo>
                <a:close/>
                <a:moveTo>
                  <a:pt x="0" y="0"/>
                </a:moveTo>
                <a:lnTo>
                  <a:pt x="702" y="0"/>
                </a:lnTo>
                <a:lnTo>
                  <a:pt x="1403" y="0"/>
                </a:lnTo>
                <a:lnTo>
                  <a:pt x="2105" y="0"/>
                </a:lnTo>
                <a:lnTo>
                  <a:pt x="2807" y="0"/>
                </a:lnTo>
                <a:lnTo>
                  <a:pt x="2807" y="701"/>
                </a:lnTo>
                <a:lnTo>
                  <a:pt x="2807" y="1403"/>
                </a:lnTo>
                <a:lnTo>
                  <a:pt x="2807" y="2104"/>
                </a:lnTo>
                <a:lnTo>
                  <a:pt x="2807" y="2806"/>
                </a:lnTo>
                <a:lnTo>
                  <a:pt x="2105" y="2806"/>
                </a:lnTo>
                <a:lnTo>
                  <a:pt x="1403" y="2806"/>
                </a:lnTo>
                <a:lnTo>
                  <a:pt x="702" y="2806"/>
                </a:lnTo>
                <a:lnTo>
                  <a:pt x="0" y="2806"/>
                </a:lnTo>
                <a:lnTo>
                  <a:pt x="0" y="2104"/>
                </a:lnTo>
                <a:lnTo>
                  <a:pt x="0" y="1403"/>
                </a:lnTo>
                <a:lnTo>
                  <a:pt x="0" y="701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0201" tIns="40100" rIns="80201" bIns="40100" numCol="1" anchor="t" anchorCtr="0" compatLnSpc="1">
            <a:prstTxWarp prst="textNoShape">
              <a:avLst/>
            </a:prstTxWarp>
          </a:bodyPr>
          <a:lstStyle/>
          <a:p>
            <a:endParaRPr lang="en-GB" sz="1579"/>
          </a:p>
        </p:txBody>
      </p:sp>
      <p:sp>
        <p:nvSpPr>
          <p:cNvPr id="9" name="Freeform 10">
            <a:hlinkClick r:id="rId4" tooltip="YouTube"/>
          </p:cNvPr>
          <p:cNvSpPr>
            <a:spLocks noChangeAspect="1" noEditPoints="1"/>
          </p:cNvSpPr>
          <p:nvPr/>
        </p:nvSpPr>
        <p:spPr bwMode="auto">
          <a:xfrm>
            <a:off x="5536199" y="684481"/>
            <a:ext cx="252600" cy="317600"/>
          </a:xfrm>
          <a:custGeom>
            <a:avLst/>
            <a:gdLst>
              <a:gd name="T0" fmla="*/ 793 w 2804"/>
              <a:gd name="T1" fmla="*/ 1276 h 2806"/>
              <a:gd name="T2" fmla="*/ 704 w 2804"/>
              <a:gd name="T3" fmla="*/ 1239 h 2806"/>
              <a:gd name="T4" fmla="*/ 605 w 2804"/>
              <a:gd name="T5" fmla="*/ 1291 h 2806"/>
              <a:gd name="T6" fmla="*/ 587 w 2804"/>
              <a:gd name="T7" fmla="*/ 1595 h 2806"/>
              <a:gd name="T8" fmla="*/ 645 w 2804"/>
              <a:gd name="T9" fmla="*/ 1683 h 2806"/>
              <a:gd name="T10" fmla="*/ 749 w 2804"/>
              <a:gd name="T11" fmla="*/ 1688 h 2806"/>
              <a:gd name="T12" fmla="*/ 814 w 2804"/>
              <a:gd name="T13" fmla="*/ 1621 h 2806"/>
              <a:gd name="T14" fmla="*/ 738 w 2804"/>
              <a:gd name="T15" fmla="*/ 1591 h 2806"/>
              <a:gd name="T16" fmla="*/ 704 w 2804"/>
              <a:gd name="T17" fmla="*/ 1623 h 2806"/>
              <a:gd name="T18" fmla="*/ 668 w 2804"/>
              <a:gd name="T19" fmla="*/ 1579 h 2806"/>
              <a:gd name="T20" fmla="*/ 676 w 2804"/>
              <a:gd name="T21" fmla="*/ 1326 h 2806"/>
              <a:gd name="T22" fmla="*/ 725 w 2804"/>
              <a:gd name="T23" fmla="*/ 1320 h 2806"/>
              <a:gd name="T24" fmla="*/ 491 w 2804"/>
              <a:gd name="T25" fmla="*/ 1690 h 2806"/>
              <a:gd name="T26" fmla="*/ 491 w 2804"/>
              <a:gd name="T27" fmla="*/ 1447 h 2806"/>
              <a:gd name="T28" fmla="*/ 959 w 2804"/>
              <a:gd name="T29" fmla="*/ 1695 h 2806"/>
              <a:gd name="T30" fmla="*/ 894 w 2804"/>
              <a:gd name="T31" fmla="*/ 1662 h 2806"/>
              <a:gd name="T32" fmla="*/ 972 w 2804"/>
              <a:gd name="T33" fmla="*/ 1614 h 2806"/>
              <a:gd name="T34" fmla="*/ 1017 w 2804"/>
              <a:gd name="T35" fmla="*/ 1607 h 2806"/>
              <a:gd name="T36" fmla="*/ 1956 w 2804"/>
              <a:gd name="T37" fmla="*/ 1325 h 2806"/>
              <a:gd name="T38" fmla="*/ 1995 w 2804"/>
              <a:gd name="T39" fmla="*/ 1622 h 2806"/>
              <a:gd name="T40" fmla="*/ 2020 w 2804"/>
              <a:gd name="T41" fmla="*/ 1371 h 2806"/>
              <a:gd name="T42" fmla="*/ 1987 w 2804"/>
              <a:gd name="T43" fmla="*/ 1313 h 2806"/>
              <a:gd name="T44" fmla="*/ 2293 w 2804"/>
              <a:gd name="T45" fmla="*/ 1314 h 2806"/>
              <a:gd name="T46" fmla="*/ 2246 w 2804"/>
              <a:gd name="T47" fmla="*/ 1331 h 2806"/>
              <a:gd name="T48" fmla="*/ 2488 w 2804"/>
              <a:gd name="T49" fmla="*/ 1089 h 2806"/>
              <a:gd name="T50" fmla="*/ 2427 w 2804"/>
              <a:gd name="T51" fmla="*/ 991 h 2806"/>
              <a:gd name="T52" fmla="*/ 2315 w 2804"/>
              <a:gd name="T53" fmla="*/ 953 h 2806"/>
              <a:gd name="T54" fmla="*/ 1461 w 2804"/>
              <a:gd name="T55" fmla="*/ 948 h 2806"/>
              <a:gd name="T56" fmla="*/ 1274 w 2804"/>
              <a:gd name="T57" fmla="*/ 991 h 2806"/>
              <a:gd name="T58" fmla="*/ 1205 w 2804"/>
              <a:gd name="T59" fmla="*/ 1125 h 2806"/>
              <a:gd name="T60" fmla="*/ 1192 w 2804"/>
              <a:gd name="T61" fmla="*/ 1568 h 2806"/>
              <a:gd name="T62" fmla="*/ 1229 w 2804"/>
              <a:gd name="T63" fmla="*/ 1760 h 2806"/>
              <a:gd name="T64" fmla="*/ 1336 w 2804"/>
              <a:gd name="T65" fmla="*/ 1842 h 2806"/>
              <a:gd name="T66" fmla="*/ 1851 w 2804"/>
              <a:gd name="T67" fmla="*/ 1867 h 2806"/>
              <a:gd name="T68" fmla="*/ 2371 w 2804"/>
              <a:gd name="T69" fmla="*/ 1844 h 2806"/>
              <a:gd name="T70" fmla="*/ 2472 w 2804"/>
              <a:gd name="T71" fmla="*/ 1760 h 2806"/>
              <a:gd name="T72" fmla="*/ 2512 w 2804"/>
              <a:gd name="T73" fmla="*/ 1492 h 2806"/>
              <a:gd name="T74" fmla="*/ 1390 w 2804"/>
              <a:gd name="T75" fmla="*/ 1690 h 2806"/>
              <a:gd name="T76" fmla="*/ 1702 w 2804"/>
              <a:gd name="T77" fmla="*/ 1654 h 2806"/>
              <a:gd name="T78" fmla="*/ 1604 w 2804"/>
              <a:gd name="T79" fmla="*/ 1693 h 2806"/>
              <a:gd name="T80" fmla="*/ 1565 w 2804"/>
              <a:gd name="T81" fmla="*/ 1627 h 2806"/>
              <a:gd name="T82" fmla="*/ 1659 w 2804"/>
              <a:gd name="T83" fmla="*/ 1622 h 2806"/>
              <a:gd name="T84" fmla="*/ 1799 w 2804"/>
              <a:gd name="T85" fmla="*/ 1246 h 2806"/>
              <a:gd name="T86" fmla="*/ 2086 w 2804"/>
              <a:gd name="T87" fmla="*/ 1667 h 2806"/>
              <a:gd name="T88" fmla="*/ 2003 w 2804"/>
              <a:gd name="T89" fmla="*/ 1690 h 2806"/>
              <a:gd name="T90" fmla="*/ 1945 w 2804"/>
              <a:gd name="T91" fmla="*/ 1095 h 2806"/>
              <a:gd name="T92" fmla="*/ 2030 w 2804"/>
              <a:gd name="T93" fmla="*/ 1240 h 2806"/>
              <a:gd name="T94" fmla="*/ 2089 w 2804"/>
              <a:gd name="T95" fmla="*/ 1279 h 2806"/>
              <a:gd name="T96" fmla="*/ 2295 w 2804"/>
              <a:gd name="T97" fmla="*/ 1621 h 2806"/>
              <a:gd name="T98" fmla="*/ 2401 w 2804"/>
              <a:gd name="T99" fmla="*/ 1534 h 2806"/>
              <a:gd name="T100" fmla="*/ 2371 w 2804"/>
              <a:gd name="T101" fmla="*/ 1659 h 2806"/>
              <a:gd name="T102" fmla="*/ 2284 w 2804"/>
              <a:gd name="T103" fmla="*/ 1695 h 2806"/>
              <a:gd name="T104" fmla="*/ 2180 w 2804"/>
              <a:gd name="T105" fmla="*/ 1641 h 2806"/>
              <a:gd name="T106" fmla="*/ 2160 w 2804"/>
              <a:gd name="T107" fmla="*/ 1359 h 2806"/>
              <a:gd name="T108" fmla="*/ 2227 w 2804"/>
              <a:gd name="T109" fmla="*/ 1252 h 2806"/>
              <a:gd name="T110" fmla="*/ 2323 w 2804"/>
              <a:gd name="T111" fmla="*/ 1246 h 2806"/>
              <a:gd name="T112" fmla="*/ 2386 w 2804"/>
              <a:gd name="T113" fmla="*/ 1305 h 2806"/>
              <a:gd name="T114" fmla="*/ 2243 w 2804"/>
              <a:gd name="T115" fmla="*/ 1575 h 2806"/>
              <a:gd name="T116" fmla="*/ 0 w 2804"/>
              <a:gd name="T117" fmla="*/ 0 h 2806"/>
              <a:gd name="T118" fmla="*/ 700 w 2804"/>
              <a:gd name="T119" fmla="*/ 2806 h 28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804" h="2806">
                <a:moveTo>
                  <a:pt x="824" y="1388"/>
                </a:moveTo>
                <a:lnTo>
                  <a:pt x="822" y="1371"/>
                </a:lnTo>
                <a:lnTo>
                  <a:pt x="821" y="1355"/>
                </a:lnTo>
                <a:lnTo>
                  <a:pt x="819" y="1340"/>
                </a:lnTo>
                <a:lnTo>
                  <a:pt x="816" y="1325"/>
                </a:lnTo>
                <a:lnTo>
                  <a:pt x="813" y="1313"/>
                </a:lnTo>
                <a:lnTo>
                  <a:pt x="810" y="1307"/>
                </a:lnTo>
                <a:lnTo>
                  <a:pt x="808" y="1302"/>
                </a:lnTo>
                <a:lnTo>
                  <a:pt x="803" y="1291"/>
                </a:lnTo>
                <a:lnTo>
                  <a:pt x="796" y="1282"/>
                </a:lnTo>
                <a:lnTo>
                  <a:pt x="793" y="1276"/>
                </a:lnTo>
                <a:lnTo>
                  <a:pt x="788" y="1271"/>
                </a:lnTo>
                <a:lnTo>
                  <a:pt x="783" y="1267"/>
                </a:lnTo>
                <a:lnTo>
                  <a:pt x="778" y="1262"/>
                </a:lnTo>
                <a:lnTo>
                  <a:pt x="772" y="1258"/>
                </a:lnTo>
                <a:lnTo>
                  <a:pt x="767" y="1255"/>
                </a:lnTo>
                <a:lnTo>
                  <a:pt x="761" y="1251"/>
                </a:lnTo>
                <a:lnTo>
                  <a:pt x="754" y="1249"/>
                </a:lnTo>
                <a:lnTo>
                  <a:pt x="743" y="1245"/>
                </a:lnTo>
                <a:lnTo>
                  <a:pt x="730" y="1241"/>
                </a:lnTo>
                <a:lnTo>
                  <a:pt x="717" y="1240"/>
                </a:lnTo>
                <a:lnTo>
                  <a:pt x="704" y="1239"/>
                </a:lnTo>
                <a:lnTo>
                  <a:pt x="689" y="1240"/>
                </a:lnTo>
                <a:lnTo>
                  <a:pt x="681" y="1240"/>
                </a:lnTo>
                <a:lnTo>
                  <a:pt x="675" y="1241"/>
                </a:lnTo>
                <a:lnTo>
                  <a:pt x="663" y="1245"/>
                </a:lnTo>
                <a:lnTo>
                  <a:pt x="650" y="1249"/>
                </a:lnTo>
                <a:lnTo>
                  <a:pt x="639" y="1255"/>
                </a:lnTo>
                <a:lnTo>
                  <a:pt x="634" y="1258"/>
                </a:lnTo>
                <a:lnTo>
                  <a:pt x="628" y="1262"/>
                </a:lnTo>
                <a:lnTo>
                  <a:pt x="619" y="1271"/>
                </a:lnTo>
                <a:lnTo>
                  <a:pt x="611" y="1282"/>
                </a:lnTo>
                <a:lnTo>
                  <a:pt x="605" y="1291"/>
                </a:lnTo>
                <a:lnTo>
                  <a:pt x="598" y="1302"/>
                </a:lnTo>
                <a:lnTo>
                  <a:pt x="595" y="1313"/>
                </a:lnTo>
                <a:lnTo>
                  <a:pt x="591" y="1325"/>
                </a:lnTo>
                <a:lnTo>
                  <a:pt x="587" y="1340"/>
                </a:lnTo>
                <a:lnTo>
                  <a:pt x="586" y="1355"/>
                </a:lnTo>
                <a:lnTo>
                  <a:pt x="585" y="1371"/>
                </a:lnTo>
                <a:lnTo>
                  <a:pt x="584" y="1388"/>
                </a:lnTo>
                <a:lnTo>
                  <a:pt x="584" y="1548"/>
                </a:lnTo>
                <a:lnTo>
                  <a:pt x="584" y="1565"/>
                </a:lnTo>
                <a:lnTo>
                  <a:pt x="585" y="1581"/>
                </a:lnTo>
                <a:lnTo>
                  <a:pt x="587" y="1595"/>
                </a:lnTo>
                <a:lnTo>
                  <a:pt x="590" y="1609"/>
                </a:lnTo>
                <a:lnTo>
                  <a:pt x="592" y="1615"/>
                </a:lnTo>
                <a:lnTo>
                  <a:pt x="594" y="1621"/>
                </a:lnTo>
                <a:lnTo>
                  <a:pt x="598" y="1632"/>
                </a:lnTo>
                <a:lnTo>
                  <a:pt x="603" y="1642"/>
                </a:lnTo>
                <a:lnTo>
                  <a:pt x="610" y="1651"/>
                </a:lnTo>
                <a:lnTo>
                  <a:pt x="618" y="1662"/>
                </a:lnTo>
                <a:lnTo>
                  <a:pt x="623" y="1667"/>
                </a:lnTo>
                <a:lnTo>
                  <a:pt x="628" y="1670"/>
                </a:lnTo>
                <a:lnTo>
                  <a:pt x="639" y="1679"/>
                </a:lnTo>
                <a:lnTo>
                  <a:pt x="645" y="1683"/>
                </a:lnTo>
                <a:lnTo>
                  <a:pt x="652" y="1685"/>
                </a:lnTo>
                <a:lnTo>
                  <a:pt x="664" y="1690"/>
                </a:lnTo>
                <a:lnTo>
                  <a:pt x="676" y="1694"/>
                </a:lnTo>
                <a:lnTo>
                  <a:pt x="684" y="1695"/>
                </a:lnTo>
                <a:lnTo>
                  <a:pt x="690" y="1696"/>
                </a:lnTo>
                <a:lnTo>
                  <a:pt x="696" y="1698"/>
                </a:lnTo>
                <a:lnTo>
                  <a:pt x="704" y="1698"/>
                </a:lnTo>
                <a:lnTo>
                  <a:pt x="717" y="1696"/>
                </a:lnTo>
                <a:lnTo>
                  <a:pt x="730" y="1694"/>
                </a:lnTo>
                <a:lnTo>
                  <a:pt x="743" y="1690"/>
                </a:lnTo>
                <a:lnTo>
                  <a:pt x="749" y="1688"/>
                </a:lnTo>
                <a:lnTo>
                  <a:pt x="756" y="1685"/>
                </a:lnTo>
                <a:lnTo>
                  <a:pt x="768" y="1679"/>
                </a:lnTo>
                <a:lnTo>
                  <a:pt x="774" y="1675"/>
                </a:lnTo>
                <a:lnTo>
                  <a:pt x="779" y="1670"/>
                </a:lnTo>
                <a:lnTo>
                  <a:pt x="784" y="1667"/>
                </a:lnTo>
                <a:lnTo>
                  <a:pt x="789" y="1662"/>
                </a:lnTo>
                <a:lnTo>
                  <a:pt x="794" y="1657"/>
                </a:lnTo>
                <a:lnTo>
                  <a:pt x="799" y="1651"/>
                </a:lnTo>
                <a:lnTo>
                  <a:pt x="804" y="1642"/>
                </a:lnTo>
                <a:lnTo>
                  <a:pt x="810" y="1632"/>
                </a:lnTo>
                <a:lnTo>
                  <a:pt x="814" y="1621"/>
                </a:lnTo>
                <a:lnTo>
                  <a:pt x="817" y="1609"/>
                </a:lnTo>
                <a:lnTo>
                  <a:pt x="820" y="1595"/>
                </a:lnTo>
                <a:lnTo>
                  <a:pt x="821" y="1581"/>
                </a:lnTo>
                <a:lnTo>
                  <a:pt x="822" y="1565"/>
                </a:lnTo>
                <a:lnTo>
                  <a:pt x="824" y="1548"/>
                </a:lnTo>
                <a:lnTo>
                  <a:pt x="824" y="1388"/>
                </a:lnTo>
                <a:close/>
                <a:moveTo>
                  <a:pt x="740" y="1557"/>
                </a:moveTo>
                <a:lnTo>
                  <a:pt x="740" y="1573"/>
                </a:lnTo>
                <a:lnTo>
                  <a:pt x="740" y="1579"/>
                </a:lnTo>
                <a:lnTo>
                  <a:pt x="740" y="1586"/>
                </a:lnTo>
                <a:lnTo>
                  <a:pt x="738" y="1591"/>
                </a:lnTo>
                <a:lnTo>
                  <a:pt x="737" y="1597"/>
                </a:lnTo>
                <a:lnTo>
                  <a:pt x="735" y="1602"/>
                </a:lnTo>
                <a:lnTo>
                  <a:pt x="732" y="1606"/>
                </a:lnTo>
                <a:lnTo>
                  <a:pt x="730" y="1610"/>
                </a:lnTo>
                <a:lnTo>
                  <a:pt x="727" y="1614"/>
                </a:lnTo>
                <a:lnTo>
                  <a:pt x="725" y="1617"/>
                </a:lnTo>
                <a:lnTo>
                  <a:pt x="721" y="1618"/>
                </a:lnTo>
                <a:lnTo>
                  <a:pt x="717" y="1621"/>
                </a:lnTo>
                <a:lnTo>
                  <a:pt x="712" y="1622"/>
                </a:lnTo>
                <a:lnTo>
                  <a:pt x="709" y="1623"/>
                </a:lnTo>
                <a:lnTo>
                  <a:pt x="704" y="1623"/>
                </a:lnTo>
                <a:lnTo>
                  <a:pt x="699" y="1623"/>
                </a:lnTo>
                <a:lnTo>
                  <a:pt x="694" y="1622"/>
                </a:lnTo>
                <a:lnTo>
                  <a:pt x="690" y="1621"/>
                </a:lnTo>
                <a:lnTo>
                  <a:pt x="686" y="1618"/>
                </a:lnTo>
                <a:lnTo>
                  <a:pt x="683" y="1617"/>
                </a:lnTo>
                <a:lnTo>
                  <a:pt x="680" y="1614"/>
                </a:lnTo>
                <a:lnTo>
                  <a:pt x="676" y="1610"/>
                </a:lnTo>
                <a:lnTo>
                  <a:pt x="674" y="1606"/>
                </a:lnTo>
                <a:lnTo>
                  <a:pt x="670" y="1597"/>
                </a:lnTo>
                <a:lnTo>
                  <a:pt x="668" y="1586"/>
                </a:lnTo>
                <a:lnTo>
                  <a:pt x="668" y="1579"/>
                </a:lnTo>
                <a:lnTo>
                  <a:pt x="668" y="1573"/>
                </a:lnTo>
                <a:lnTo>
                  <a:pt x="668" y="1557"/>
                </a:lnTo>
                <a:lnTo>
                  <a:pt x="668" y="1380"/>
                </a:lnTo>
                <a:lnTo>
                  <a:pt x="668" y="1364"/>
                </a:lnTo>
                <a:lnTo>
                  <a:pt x="668" y="1357"/>
                </a:lnTo>
                <a:lnTo>
                  <a:pt x="668" y="1350"/>
                </a:lnTo>
                <a:lnTo>
                  <a:pt x="669" y="1345"/>
                </a:lnTo>
                <a:lnTo>
                  <a:pt x="670" y="1339"/>
                </a:lnTo>
                <a:lnTo>
                  <a:pt x="673" y="1334"/>
                </a:lnTo>
                <a:lnTo>
                  <a:pt x="674" y="1330"/>
                </a:lnTo>
                <a:lnTo>
                  <a:pt x="676" y="1326"/>
                </a:lnTo>
                <a:lnTo>
                  <a:pt x="680" y="1323"/>
                </a:lnTo>
                <a:lnTo>
                  <a:pt x="683" y="1320"/>
                </a:lnTo>
                <a:lnTo>
                  <a:pt x="686" y="1318"/>
                </a:lnTo>
                <a:lnTo>
                  <a:pt x="694" y="1315"/>
                </a:lnTo>
                <a:lnTo>
                  <a:pt x="699" y="1314"/>
                </a:lnTo>
                <a:lnTo>
                  <a:pt x="704" y="1314"/>
                </a:lnTo>
                <a:lnTo>
                  <a:pt x="709" y="1314"/>
                </a:lnTo>
                <a:lnTo>
                  <a:pt x="712" y="1315"/>
                </a:lnTo>
                <a:lnTo>
                  <a:pt x="717" y="1317"/>
                </a:lnTo>
                <a:lnTo>
                  <a:pt x="721" y="1318"/>
                </a:lnTo>
                <a:lnTo>
                  <a:pt x="725" y="1320"/>
                </a:lnTo>
                <a:lnTo>
                  <a:pt x="727" y="1323"/>
                </a:lnTo>
                <a:lnTo>
                  <a:pt x="730" y="1326"/>
                </a:lnTo>
                <a:lnTo>
                  <a:pt x="733" y="1330"/>
                </a:lnTo>
                <a:lnTo>
                  <a:pt x="737" y="1339"/>
                </a:lnTo>
                <a:lnTo>
                  <a:pt x="740" y="1350"/>
                </a:lnTo>
                <a:lnTo>
                  <a:pt x="740" y="1357"/>
                </a:lnTo>
                <a:lnTo>
                  <a:pt x="740" y="1364"/>
                </a:lnTo>
                <a:lnTo>
                  <a:pt x="740" y="1380"/>
                </a:lnTo>
                <a:lnTo>
                  <a:pt x="740" y="1557"/>
                </a:lnTo>
                <a:close/>
                <a:moveTo>
                  <a:pt x="491" y="1447"/>
                </a:moveTo>
                <a:lnTo>
                  <a:pt x="491" y="1690"/>
                </a:lnTo>
                <a:lnTo>
                  <a:pt x="402" y="1690"/>
                </a:lnTo>
                <a:lnTo>
                  <a:pt x="402" y="1447"/>
                </a:lnTo>
                <a:lnTo>
                  <a:pt x="353" y="1289"/>
                </a:lnTo>
                <a:lnTo>
                  <a:pt x="316" y="1171"/>
                </a:lnTo>
                <a:lnTo>
                  <a:pt x="302" y="1122"/>
                </a:lnTo>
                <a:lnTo>
                  <a:pt x="292" y="1091"/>
                </a:lnTo>
                <a:lnTo>
                  <a:pt x="384" y="1091"/>
                </a:lnTo>
                <a:lnTo>
                  <a:pt x="446" y="1325"/>
                </a:lnTo>
                <a:lnTo>
                  <a:pt x="508" y="1091"/>
                </a:lnTo>
                <a:lnTo>
                  <a:pt x="601" y="1091"/>
                </a:lnTo>
                <a:lnTo>
                  <a:pt x="491" y="1447"/>
                </a:lnTo>
                <a:close/>
                <a:moveTo>
                  <a:pt x="1121" y="1690"/>
                </a:moveTo>
                <a:lnTo>
                  <a:pt x="1036" y="1690"/>
                </a:lnTo>
                <a:lnTo>
                  <a:pt x="1036" y="1641"/>
                </a:lnTo>
                <a:lnTo>
                  <a:pt x="1024" y="1654"/>
                </a:lnTo>
                <a:lnTo>
                  <a:pt x="1013" y="1666"/>
                </a:lnTo>
                <a:lnTo>
                  <a:pt x="1002" y="1674"/>
                </a:lnTo>
                <a:lnTo>
                  <a:pt x="991" y="1683"/>
                </a:lnTo>
                <a:lnTo>
                  <a:pt x="980" y="1688"/>
                </a:lnTo>
                <a:lnTo>
                  <a:pt x="970" y="1693"/>
                </a:lnTo>
                <a:lnTo>
                  <a:pt x="963" y="1694"/>
                </a:lnTo>
                <a:lnTo>
                  <a:pt x="959" y="1695"/>
                </a:lnTo>
                <a:lnTo>
                  <a:pt x="947" y="1696"/>
                </a:lnTo>
                <a:lnTo>
                  <a:pt x="939" y="1695"/>
                </a:lnTo>
                <a:lnTo>
                  <a:pt x="930" y="1694"/>
                </a:lnTo>
                <a:lnTo>
                  <a:pt x="925" y="1693"/>
                </a:lnTo>
                <a:lnTo>
                  <a:pt x="921" y="1691"/>
                </a:lnTo>
                <a:lnTo>
                  <a:pt x="915" y="1688"/>
                </a:lnTo>
                <a:lnTo>
                  <a:pt x="909" y="1683"/>
                </a:lnTo>
                <a:lnTo>
                  <a:pt x="903" y="1677"/>
                </a:lnTo>
                <a:lnTo>
                  <a:pt x="898" y="1669"/>
                </a:lnTo>
                <a:lnTo>
                  <a:pt x="897" y="1666"/>
                </a:lnTo>
                <a:lnTo>
                  <a:pt x="894" y="1662"/>
                </a:lnTo>
                <a:lnTo>
                  <a:pt x="893" y="1657"/>
                </a:lnTo>
                <a:lnTo>
                  <a:pt x="890" y="1651"/>
                </a:lnTo>
                <a:lnTo>
                  <a:pt x="888" y="1636"/>
                </a:lnTo>
                <a:lnTo>
                  <a:pt x="887" y="1627"/>
                </a:lnTo>
                <a:lnTo>
                  <a:pt x="886" y="1618"/>
                </a:lnTo>
                <a:lnTo>
                  <a:pt x="886" y="1596"/>
                </a:lnTo>
                <a:lnTo>
                  <a:pt x="886" y="1242"/>
                </a:lnTo>
                <a:lnTo>
                  <a:pt x="970" y="1242"/>
                </a:lnTo>
                <a:lnTo>
                  <a:pt x="970" y="1574"/>
                </a:lnTo>
                <a:lnTo>
                  <a:pt x="970" y="1606"/>
                </a:lnTo>
                <a:lnTo>
                  <a:pt x="972" y="1614"/>
                </a:lnTo>
                <a:lnTo>
                  <a:pt x="973" y="1616"/>
                </a:lnTo>
                <a:lnTo>
                  <a:pt x="976" y="1618"/>
                </a:lnTo>
                <a:lnTo>
                  <a:pt x="977" y="1621"/>
                </a:lnTo>
                <a:lnTo>
                  <a:pt x="981" y="1622"/>
                </a:lnTo>
                <a:lnTo>
                  <a:pt x="983" y="1622"/>
                </a:lnTo>
                <a:lnTo>
                  <a:pt x="987" y="1622"/>
                </a:lnTo>
                <a:lnTo>
                  <a:pt x="993" y="1622"/>
                </a:lnTo>
                <a:lnTo>
                  <a:pt x="999" y="1620"/>
                </a:lnTo>
                <a:lnTo>
                  <a:pt x="1006" y="1617"/>
                </a:lnTo>
                <a:lnTo>
                  <a:pt x="1012" y="1612"/>
                </a:lnTo>
                <a:lnTo>
                  <a:pt x="1017" y="1607"/>
                </a:lnTo>
                <a:lnTo>
                  <a:pt x="1023" y="1600"/>
                </a:lnTo>
                <a:lnTo>
                  <a:pt x="1036" y="1584"/>
                </a:lnTo>
                <a:lnTo>
                  <a:pt x="1036" y="1242"/>
                </a:lnTo>
                <a:lnTo>
                  <a:pt x="1121" y="1242"/>
                </a:lnTo>
                <a:lnTo>
                  <a:pt x="1121" y="1690"/>
                </a:lnTo>
                <a:close/>
                <a:moveTo>
                  <a:pt x="1987" y="1313"/>
                </a:moveTo>
                <a:lnTo>
                  <a:pt x="1982" y="1313"/>
                </a:lnTo>
                <a:lnTo>
                  <a:pt x="1977" y="1314"/>
                </a:lnTo>
                <a:lnTo>
                  <a:pt x="1966" y="1318"/>
                </a:lnTo>
                <a:lnTo>
                  <a:pt x="1961" y="1322"/>
                </a:lnTo>
                <a:lnTo>
                  <a:pt x="1956" y="1325"/>
                </a:lnTo>
                <a:lnTo>
                  <a:pt x="1950" y="1329"/>
                </a:lnTo>
                <a:lnTo>
                  <a:pt x="1945" y="1334"/>
                </a:lnTo>
                <a:lnTo>
                  <a:pt x="1945" y="1602"/>
                </a:lnTo>
                <a:lnTo>
                  <a:pt x="1956" y="1611"/>
                </a:lnTo>
                <a:lnTo>
                  <a:pt x="1961" y="1615"/>
                </a:lnTo>
                <a:lnTo>
                  <a:pt x="1966" y="1617"/>
                </a:lnTo>
                <a:lnTo>
                  <a:pt x="1972" y="1620"/>
                </a:lnTo>
                <a:lnTo>
                  <a:pt x="1977" y="1621"/>
                </a:lnTo>
                <a:lnTo>
                  <a:pt x="1982" y="1622"/>
                </a:lnTo>
                <a:lnTo>
                  <a:pt x="1987" y="1622"/>
                </a:lnTo>
                <a:lnTo>
                  <a:pt x="1995" y="1622"/>
                </a:lnTo>
                <a:lnTo>
                  <a:pt x="1999" y="1621"/>
                </a:lnTo>
                <a:lnTo>
                  <a:pt x="2002" y="1620"/>
                </a:lnTo>
                <a:lnTo>
                  <a:pt x="2005" y="1617"/>
                </a:lnTo>
                <a:lnTo>
                  <a:pt x="2008" y="1615"/>
                </a:lnTo>
                <a:lnTo>
                  <a:pt x="2010" y="1612"/>
                </a:lnTo>
                <a:lnTo>
                  <a:pt x="2013" y="1609"/>
                </a:lnTo>
                <a:lnTo>
                  <a:pt x="2016" y="1600"/>
                </a:lnTo>
                <a:lnTo>
                  <a:pt x="2019" y="1590"/>
                </a:lnTo>
                <a:lnTo>
                  <a:pt x="2020" y="1576"/>
                </a:lnTo>
                <a:lnTo>
                  <a:pt x="2020" y="1562"/>
                </a:lnTo>
                <a:lnTo>
                  <a:pt x="2020" y="1371"/>
                </a:lnTo>
                <a:lnTo>
                  <a:pt x="2020" y="1355"/>
                </a:lnTo>
                <a:lnTo>
                  <a:pt x="2019" y="1343"/>
                </a:lnTo>
                <a:lnTo>
                  <a:pt x="2016" y="1333"/>
                </a:lnTo>
                <a:lnTo>
                  <a:pt x="2014" y="1329"/>
                </a:lnTo>
                <a:lnTo>
                  <a:pt x="2013" y="1325"/>
                </a:lnTo>
                <a:lnTo>
                  <a:pt x="2010" y="1323"/>
                </a:lnTo>
                <a:lnTo>
                  <a:pt x="2008" y="1319"/>
                </a:lnTo>
                <a:lnTo>
                  <a:pt x="2005" y="1318"/>
                </a:lnTo>
                <a:lnTo>
                  <a:pt x="2002" y="1315"/>
                </a:lnTo>
                <a:lnTo>
                  <a:pt x="1995" y="1314"/>
                </a:lnTo>
                <a:lnTo>
                  <a:pt x="1987" y="1313"/>
                </a:lnTo>
                <a:close/>
                <a:moveTo>
                  <a:pt x="2317" y="1366"/>
                </a:moveTo>
                <a:lnTo>
                  <a:pt x="2317" y="1352"/>
                </a:lnTo>
                <a:lnTo>
                  <a:pt x="2316" y="1341"/>
                </a:lnTo>
                <a:lnTo>
                  <a:pt x="2315" y="1336"/>
                </a:lnTo>
                <a:lnTo>
                  <a:pt x="2313" y="1331"/>
                </a:lnTo>
                <a:lnTo>
                  <a:pt x="2308" y="1324"/>
                </a:lnTo>
                <a:lnTo>
                  <a:pt x="2306" y="1322"/>
                </a:lnTo>
                <a:lnTo>
                  <a:pt x="2303" y="1319"/>
                </a:lnTo>
                <a:lnTo>
                  <a:pt x="2301" y="1318"/>
                </a:lnTo>
                <a:lnTo>
                  <a:pt x="2297" y="1315"/>
                </a:lnTo>
                <a:lnTo>
                  <a:pt x="2293" y="1314"/>
                </a:lnTo>
                <a:lnTo>
                  <a:pt x="2290" y="1314"/>
                </a:lnTo>
                <a:lnTo>
                  <a:pt x="2280" y="1313"/>
                </a:lnTo>
                <a:lnTo>
                  <a:pt x="2271" y="1314"/>
                </a:lnTo>
                <a:lnTo>
                  <a:pt x="2266" y="1314"/>
                </a:lnTo>
                <a:lnTo>
                  <a:pt x="2263" y="1315"/>
                </a:lnTo>
                <a:lnTo>
                  <a:pt x="2260" y="1317"/>
                </a:lnTo>
                <a:lnTo>
                  <a:pt x="2256" y="1319"/>
                </a:lnTo>
                <a:lnTo>
                  <a:pt x="2254" y="1322"/>
                </a:lnTo>
                <a:lnTo>
                  <a:pt x="2251" y="1324"/>
                </a:lnTo>
                <a:lnTo>
                  <a:pt x="2249" y="1328"/>
                </a:lnTo>
                <a:lnTo>
                  <a:pt x="2246" y="1331"/>
                </a:lnTo>
                <a:lnTo>
                  <a:pt x="2245" y="1335"/>
                </a:lnTo>
                <a:lnTo>
                  <a:pt x="2244" y="1340"/>
                </a:lnTo>
                <a:lnTo>
                  <a:pt x="2243" y="1351"/>
                </a:lnTo>
                <a:lnTo>
                  <a:pt x="2242" y="1366"/>
                </a:lnTo>
                <a:lnTo>
                  <a:pt x="2242" y="1414"/>
                </a:lnTo>
                <a:lnTo>
                  <a:pt x="2317" y="1414"/>
                </a:lnTo>
                <a:lnTo>
                  <a:pt x="2317" y="1366"/>
                </a:lnTo>
                <a:close/>
                <a:moveTo>
                  <a:pt x="2499" y="1140"/>
                </a:moveTo>
                <a:lnTo>
                  <a:pt x="2496" y="1125"/>
                </a:lnTo>
                <a:lnTo>
                  <a:pt x="2493" y="1109"/>
                </a:lnTo>
                <a:lnTo>
                  <a:pt x="2488" y="1089"/>
                </a:lnTo>
                <a:lnTo>
                  <a:pt x="2485" y="1079"/>
                </a:lnTo>
                <a:lnTo>
                  <a:pt x="2480" y="1068"/>
                </a:lnTo>
                <a:lnTo>
                  <a:pt x="2477" y="1057"/>
                </a:lnTo>
                <a:lnTo>
                  <a:pt x="2472" y="1046"/>
                </a:lnTo>
                <a:lnTo>
                  <a:pt x="2467" y="1036"/>
                </a:lnTo>
                <a:lnTo>
                  <a:pt x="2461" y="1026"/>
                </a:lnTo>
                <a:lnTo>
                  <a:pt x="2454" y="1017"/>
                </a:lnTo>
                <a:lnTo>
                  <a:pt x="2447" y="1009"/>
                </a:lnTo>
                <a:lnTo>
                  <a:pt x="2442" y="1004"/>
                </a:lnTo>
                <a:lnTo>
                  <a:pt x="2437" y="1000"/>
                </a:lnTo>
                <a:lnTo>
                  <a:pt x="2427" y="991"/>
                </a:lnTo>
                <a:lnTo>
                  <a:pt x="2418" y="984"/>
                </a:lnTo>
                <a:lnTo>
                  <a:pt x="2409" y="979"/>
                </a:lnTo>
                <a:lnTo>
                  <a:pt x="2399" y="973"/>
                </a:lnTo>
                <a:lnTo>
                  <a:pt x="2390" y="969"/>
                </a:lnTo>
                <a:lnTo>
                  <a:pt x="2380" y="965"/>
                </a:lnTo>
                <a:lnTo>
                  <a:pt x="2371" y="963"/>
                </a:lnTo>
                <a:lnTo>
                  <a:pt x="2363" y="960"/>
                </a:lnTo>
                <a:lnTo>
                  <a:pt x="2354" y="958"/>
                </a:lnTo>
                <a:lnTo>
                  <a:pt x="2347" y="957"/>
                </a:lnTo>
                <a:lnTo>
                  <a:pt x="2339" y="955"/>
                </a:lnTo>
                <a:lnTo>
                  <a:pt x="2315" y="953"/>
                </a:lnTo>
                <a:lnTo>
                  <a:pt x="2242" y="948"/>
                </a:lnTo>
                <a:lnTo>
                  <a:pt x="2164" y="945"/>
                </a:lnTo>
                <a:lnTo>
                  <a:pt x="2086" y="943"/>
                </a:lnTo>
                <a:lnTo>
                  <a:pt x="2013" y="942"/>
                </a:lnTo>
                <a:lnTo>
                  <a:pt x="1898" y="939"/>
                </a:lnTo>
                <a:lnTo>
                  <a:pt x="1851" y="939"/>
                </a:lnTo>
                <a:lnTo>
                  <a:pt x="1805" y="939"/>
                </a:lnTo>
                <a:lnTo>
                  <a:pt x="1688" y="942"/>
                </a:lnTo>
                <a:lnTo>
                  <a:pt x="1615" y="943"/>
                </a:lnTo>
                <a:lnTo>
                  <a:pt x="1538" y="945"/>
                </a:lnTo>
                <a:lnTo>
                  <a:pt x="1461" y="948"/>
                </a:lnTo>
                <a:lnTo>
                  <a:pt x="1387" y="953"/>
                </a:lnTo>
                <a:lnTo>
                  <a:pt x="1377" y="954"/>
                </a:lnTo>
                <a:lnTo>
                  <a:pt x="1363" y="955"/>
                </a:lnTo>
                <a:lnTo>
                  <a:pt x="1347" y="958"/>
                </a:lnTo>
                <a:lnTo>
                  <a:pt x="1338" y="960"/>
                </a:lnTo>
                <a:lnTo>
                  <a:pt x="1330" y="963"/>
                </a:lnTo>
                <a:lnTo>
                  <a:pt x="1312" y="969"/>
                </a:lnTo>
                <a:lnTo>
                  <a:pt x="1302" y="973"/>
                </a:lnTo>
                <a:lnTo>
                  <a:pt x="1293" y="979"/>
                </a:lnTo>
                <a:lnTo>
                  <a:pt x="1283" y="984"/>
                </a:lnTo>
                <a:lnTo>
                  <a:pt x="1274" y="991"/>
                </a:lnTo>
                <a:lnTo>
                  <a:pt x="1264" y="1000"/>
                </a:lnTo>
                <a:lnTo>
                  <a:pt x="1254" y="1009"/>
                </a:lnTo>
                <a:lnTo>
                  <a:pt x="1247" y="1017"/>
                </a:lnTo>
                <a:lnTo>
                  <a:pt x="1241" y="1026"/>
                </a:lnTo>
                <a:lnTo>
                  <a:pt x="1234" y="1036"/>
                </a:lnTo>
                <a:lnTo>
                  <a:pt x="1229" y="1046"/>
                </a:lnTo>
                <a:lnTo>
                  <a:pt x="1225" y="1057"/>
                </a:lnTo>
                <a:lnTo>
                  <a:pt x="1221" y="1068"/>
                </a:lnTo>
                <a:lnTo>
                  <a:pt x="1213" y="1089"/>
                </a:lnTo>
                <a:lnTo>
                  <a:pt x="1208" y="1109"/>
                </a:lnTo>
                <a:lnTo>
                  <a:pt x="1205" y="1125"/>
                </a:lnTo>
                <a:lnTo>
                  <a:pt x="1202" y="1140"/>
                </a:lnTo>
                <a:lnTo>
                  <a:pt x="1200" y="1158"/>
                </a:lnTo>
                <a:lnTo>
                  <a:pt x="1195" y="1206"/>
                </a:lnTo>
                <a:lnTo>
                  <a:pt x="1192" y="1239"/>
                </a:lnTo>
                <a:lnTo>
                  <a:pt x="1191" y="1275"/>
                </a:lnTo>
                <a:lnTo>
                  <a:pt x="1189" y="1313"/>
                </a:lnTo>
                <a:lnTo>
                  <a:pt x="1189" y="1352"/>
                </a:lnTo>
                <a:lnTo>
                  <a:pt x="1189" y="1453"/>
                </a:lnTo>
                <a:lnTo>
                  <a:pt x="1189" y="1492"/>
                </a:lnTo>
                <a:lnTo>
                  <a:pt x="1191" y="1531"/>
                </a:lnTo>
                <a:lnTo>
                  <a:pt x="1192" y="1568"/>
                </a:lnTo>
                <a:lnTo>
                  <a:pt x="1195" y="1600"/>
                </a:lnTo>
                <a:lnTo>
                  <a:pt x="1197" y="1627"/>
                </a:lnTo>
                <a:lnTo>
                  <a:pt x="1200" y="1648"/>
                </a:lnTo>
                <a:lnTo>
                  <a:pt x="1202" y="1667"/>
                </a:lnTo>
                <a:lnTo>
                  <a:pt x="1205" y="1682"/>
                </a:lnTo>
                <a:lnTo>
                  <a:pt x="1208" y="1696"/>
                </a:lnTo>
                <a:lnTo>
                  <a:pt x="1213" y="1716"/>
                </a:lnTo>
                <a:lnTo>
                  <a:pt x="1217" y="1727"/>
                </a:lnTo>
                <a:lnTo>
                  <a:pt x="1221" y="1739"/>
                </a:lnTo>
                <a:lnTo>
                  <a:pt x="1225" y="1748"/>
                </a:lnTo>
                <a:lnTo>
                  <a:pt x="1229" y="1760"/>
                </a:lnTo>
                <a:lnTo>
                  <a:pt x="1234" y="1771"/>
                </a:lnTo>
                <a:lnTo>
                  <a:pt x="1241" y="1779"/>
                </a:lnTo>
                <a:lnTo>
                  <a:pt x="1247" y="1789"/>
                </a:lnTo>
                <a:lnTo>
                  <a:pt x="1254" y="1797"/>
                </a:lnTo>
                <a:lnTo>
                  <a:pt x="1264" y="1807"/>
                </a:lnTo>
                <a:lnTo>
                  <a:pt x="1274" y="1814"/>
                </a:lnTo>
                <a:lnTo>
                  <a:pt x="1284" y="1821"/>
                </a:lnTo>
                <a:lnTo>
                  <a:pt x="1294" y="1828"/>
                </a:lnTo>
                <a:lnTo>
                  <a:pt x="1305" y="1833"/>
                </a:lnTo>
                <a:lnTo>
                  <a:pt x="1315" y="1836"/>
                </a:lnTo>
                <a:lnTo>
                  <a:pt x="1336" y="1842"/>
                </a:lnTo>
                <a:lnTo>
                  <a:pt x="1345" y="1845"/>
                </a:lnTo>
                <a:lnTo>
                  <a:pt x="1354" y="1847"/>
                </a:lnTo>
                <a:lnTo>
                  <a:pt x="1372" y="1850"/>
                </a:lnTo>
                <a:lnTo>
                  <a:pt x="1400" y="1854"/>
                </a:lnTo>
                <a:lnTo>
                  <a:pt x="1422" y="1855"/>
                </a:lnTo>
                <a:lnTo>
                  <a:pt x="1450" y="1857"/>
                </a:lnTo>
                <a:lnTo>
                  <a:pt x="1515" y="1860"/>
                </a:lnTo>
                <a:lnTo>
                  <a:pt x="1590" y="1862"/>
                </a:lnTo>
                <a:lnTo>
                  <a:pt x="1665" y="1863"/>
                </a:lnTo>
                <a:lnTo>
                  <a:pt x="1795" y="1866"/>
                </a:lnTo>
                <a:lnTo>
                  <a:pt x="1851" y="1867"/>
                </a:lnTo>
                <a:lnTo>
                  <a:pt x="1898" y="1866"/>
                </a:lnTo>
                <a:lnTo>
                  <a:pt x="2013" y="1865"/>
                </a:lnTo>
                <a:lnTo>
                  <a:pt x="2086" y="1863"/>
                </a:lnTo>
                <a:lnTo>
                  <a:pt x="2164" y="1861"/>
                </a:lnTo>
                <a:lnTo>
                  <a:pt x="2242" y="1857"/>
                </a:lnTo>
                <a:lnTo>
                  <a:pt x="2315" y="1852"/>
                </a:lnTo>
                <a:lnTo>
                  <a:pt x="2326" y="1852"/>
                </a:lnTo>
                <a:lnTo>
                  <a:pt x="2339" y="1850"/>
                </a:lnTo>
                <a:lnTo>
                  <a:pt x="2354" y="1847"/>
                </a:lnTo>
                <a:lnTo>
                  <a:pt x="2363" y="1846"/>
                </a:lnTo>
                <a:lnTo>
                  <a:pt x="2371" y="1844"/>
                </a:lnTo>
                <a:lnTo>
                  <a:pt x="2390" y="1837"/>
                </a:lnTo>
                <a:lnTo>
                  <a:pt x="2399" y="1833"/>
                </a:lnTo>
                <a:lnTo>
                  <a:pt x="2409" y="1828"/>
                </a:lnTo>
                <a:lnTo>
                  <a:pt x="2418" y="1821"/>
                </a:lnTo>
                <a:lnTo>
                  <a:pt x="2427" y="1814"/>
                </a:lnTo>
                <a:lnTo>
                  <a:pt x="2437" y="1807"/>
                </a:lnTo>
                <a:lnTo>
                  <a:pt x="2447" y="1797"/>
                </a:lnTo>
                <a:lnTo>
                  <a:pt x="2454" y="1789"/>
                </a:lnTo>
                <a:lnTo>
                  <a:pt x="2461" y="1779"/>
                </a:lnTo>
                <a:lnTo>
                  <a:pt x="2467" y="1771"/>
                </a:lnTo>
                <a:lnTo>
                  <a:pt x="2472" y="1760"/>
                </a:lnTo>
                <a:lnTo>
                  <a:pt x="2477" y="1748"/>
                </a:lnTo>
                <a:lnTo>
                  <a:pt x="2480" y="1739"/>
                </a:lnTo>
                <a:lnTo>
                  <a:pt x="2488" y="1716"/>
                </a:lnTo>
                <a:lnTo>
                  <a:pt x="2493" y="1696"/>
                </a:lnTo>
                <a:lnTo>
                  <a:pt x="2496" y="1682"/>
                </a:lnTo>
                <a:lnTo>
                  <a:pt x="2499" y="1667"/>
                </a:lnTo>
                <a:lnTo>
                  <a:pt x="2501" y="1648"/>
                </a:lnTo>
                <a:lnTo>
                  <a:pt x="2506" y="1600"/>
                </a:lnTo>
                <a:lnTo>
                  <a:pt x="2509" y="1568"/>
                </a:lnTo>
                <a:lnTo>
                  <a:pt x="2510" y="1531"/>
                </a:lnTo>
                <a:lnTo>
                  <a:pt x="2512" y="1492"/>
                </a:lnTo>
                <a:lnTo>
                  <a:pt x="2512" y="1453"/>
                </a:lnTo>
                <a:lnTo>
                  <a:pt x="2512" y="1352"/>
                </a:lnTo>
                <a:lnTo>
                  <a:pt x="2512" y="1313"/>
                </a:lnTo>
                <a:lnTo>
                  <a:pt x="2510" y="1275"/>
                </a:lnTo>
                <a:lnTo>
                  <a:pt x="2509" y="1239"/>
                </a:lnTo>
                <a:lnTo>
                  <a:pt x="2506" y="1206"/>
                </a:lnTo>
                <a:lnTo>
                  <a:pt x="2504" y="1179"/>
                </a:lnTo>
                <a:lnTo>
                  <a:pt x="2501" y="1158"/>
                </a:lnTo>
                <a:lnTo>
                  <a:pt x="2499" y="1140"/>
                </a:lnTo>
                <a:close/>
                <a:moveTo>
                  <a:pt x="1479" y="1690"/>
                </a:moveTo>
                <a:lnTo>
                  <a:pt x="1390" y="1690"/>
                </a:lnTo>
                <a:lnTo>
                  <a:pt x="1390" y="1179"/>
                </a:lnTo>
                <a:lnTo>
                  <a:pt x="1298" y="1179"/>
                </a:lnTo>
                <a:lnTo>
                  <a:pt x="1298" y="1095"/>
                </a:lnTo>
                <a:lnTo>
                  <a:pt x="1577" y="1095"/>
                </a:lnTo>
                <a:lnTo>
                  <a:pt x="1577" y="1179"/>
                </a:lnTo>
                <a:lnTo>
                  <a:pt x="1479" y="1179"/>
                </a:lnTo>
                <a:lnTo>
                  <a:pt x="1479" y="1690"/>
                </a:lnTo>
                <a:close/>
                <a:moveTo>
                  <a:pt x="1799" y="1690"/>
                </a:moveTo>
                <a:lnTo>
                  <a:pt x="1714" y="1690"/>
                </a:lnTo>
                <a:lnTo>
                  <a:pt x="1714" y="1641"/>
                </a:lnTo>
                <a:lnTo>
                  <a:pt x="1702" y="1654"/>
                </a:lnTo>
                <a:lnTo>
                  <a:pt x="1691" y="1666"/>
                </a:lnTo>
                <a:lnTo>
                  <a:pt x="1680" y="1674"/>
                </a:lnTo>
                <a:lnTo>
                  <a:pt x="1669" y="1683"/>
                </a:lnTo>
                <a:lnTo>
                  <a:pt x="1659" y="1688"/>
                </a:lnTo>
                <a:lnTo>
                  <a:pt x="1648" y="1693"/>
                </a:lnTo>
                <a:lnTo>
                  <a:pt x="1643" y="1694"/>
                </a:lnTo>
                <a:lnTo>
                  <a:pt x="1637" y="1695"/>
                </a:lnTo>
                <a:lnTo>
                  <a:pt x="1625" y="1696"/>
                </a:lnTo>
                <a:lnTo>
                  <a:pt x="1617" y="1695"/>
                </a:lnTo>
                <a:lnTo>
                  <a:pt x="1608" y="1694"/>
                </a:lnTo>
                <a:lnTo>
                  <a:pt x="1604" y="1693"/>
                </a:lnTo>
                <a:lnTo>
                  <a:pt x="1601" y="1691"/>
                </a:lnTo>
                <a:lnTo>
                  <a:pt x="1593" y="1688"/>
                </a:lnTo>
                <a:lnTo>
                  <a:pt x="1587" y="1683"/>
                </a:lnTo>
                <a:lnTo>
                  <a:pt x="1581" y="1677"/>
                </a:lnTo>
                <a:lnTo>
                  <a:pt x="1577" y="1669"/>
                </a:lnTo>
                <a:lnTo>
                  <a:pt x="1575" y="1666"/>
                </a:lnTo>
                <a:lnTo>
                  <a:pt x="1573" y="1662"/>
                </a:lnTo>
                <a:lnTo>
                  <a:pt x="1571" y="1657"/>
                </a:lnTo>
                <a:lnTo>
                  <a:pt x="1570" y="1651"/>
                </a:lnTo>
                <a:lnTo>
                  <a:pt x="1566" y="1636"/>
                </a:lnTo>
                <a:lnTo>
                  <a:pt x="1565" y="1627"/>
                </a:lnTo>
                <a:lnTo>
                  <a:pt x="1565" y="1618"/>
                </a:lnTo>
                <a:lnTo>
                  <a:pt x="1564" y="1596"/>
                </a:lnTo>
                <a:lnTo>
                  <a:pt x="1564" y="1246"/>
                </a:lnTo>
                <a:lnTo>
                  <a:pt x="1648" y="1246"/>
                </a:lnTo>
                <a:lnTo>
                  <a:pt x="1648" y="1574"/>
                </a:lnTo>
                <a:lnTo>
                  <a:pt x="1648" y="1606"/>
                </a:lnTo>
                <a:lnTo>
                  <a:pt x="1650" y="1614"/>
                </a:lnTo>
                <a:lnTo>
                  <a:pt x="1651" y="1616"/>
                </a:lnTo>
                <a:lnTo>
                  <a:pt x="1654" y="1618"/>
                </a:lnTo>
                <a:lnTo>
                  <a:pt x="1656" y="1621"/>
                </a:lnTo>
                <a:lnTo>
                  <a:pt x="1659" y="1622"/>
                </a:lnTo>
                <a:lnTo>
                  <a:pt x="1662" y="1622"/>
                </a:lnTo>
                <a:lnTo>
                  <a:pt x="1666" y="1622"/>
                </a:lnTo>
                <a:lnTo>
                  <a:pt x="1672" y="1622"/>
                </a:lnTo>
                <a:lnTo>
                  <a:pt x="1677" y="1620"/>
                </a:lnTo>
                <a:lnTo>
                  <a:pt x="1684" y="1617"/>
                </a:lnTo>
                <a:lnTo>
                  <a:pt x="1690" y="1612"/>
                </a:lnTo>
                <a:lnTo>
                  <a:pt x="1696" y="1607"/>
                </a:lnTo>
                <a:lnTo>
                  <a:pt x="1702" y="1600"/>
                </a:lnTo>
                <a:lnTo>
                  <a:pt x="1714" y="1584"/>
                </a:lnTo>
                <a:lnTo>
                  <a:pt x="1714" y="1246"/>
                </a:lnTo>
                <a:lnTo>
                  <a:pt x="1799" y="1246"/>
                </a:lnTo>
                <a:lnTo>
                  <a:pt x="1799" y="1690"/>
                </a:lnTo>
                <a:close/>
                <a:moveTo>
                  <a:pt x="2104" y="1557"/>
                </a:moveTo>
                <a:lnTo>
                  <a:pt x="2104" y="1585"/>
                </a:lnTo>
                <a:lnTo>
                  <a:pt x="2103" y="1597"/>
                </a:lnTo>
                <a:lnTo>
                  <a:pt x="2102" y="1610"/>
                </a:lnTo>
                <a:lnTo>
                  <a:pt x="2099" y="1630"/>
                </a:lnTo>
                <a:lnTo>
                  <a:pt x="2098" y="1638"/>
                </a:lnTo>
                <a:lnTo>
                  <a:pt x="2096" y="1646"/>
                </a:lnTo>
                <a:lnTo>
                  <a:pt x="2093" y="1652"/>
                </a:lnTo>
                <a:lnTo>
                  <a:pt x="2091" y="1657"/>
                </a:lnTo>
                <a:lnTo>
                  <a:pt x="2086" y="1667"/>
                </a:lnTo>
                <a:lnTo>
                  <a:pt x="2078" y="1675"/>
                </a:lnTo>
                <a:lnTo>
                  <a:pt x="2071" y="1683"/>
                </a:lnTo>
                <a:lnTo>
                  <a:pt x="2066" y="1685"/>
                </a:lnTo>
                <a:lnTo>
                  <a:pt x="2062" y="1688"/>
                </a:lnTo>
                <a:lnTo>
                  <a:pt x="2052" y="1693"/>
                </a:lnTo>
                <a:lnTo>
                  <a:pt x="2041" y="1695"/>
                </a:lnTo>
                <a:lnTo>
                  <a:pt x="2030" y="1695"/>
                </a:lnTo>
                <a:lnTo>
                  <a:pt x="2019" y="1695"/>
                </a:lnTo>
                <a:lnTo>
                  <a:pt x="2014" y="1694"/>
                </a:lnTo>
                <a:lnTo>
                  <a:pt x="2008" y="1693"/>
                </a:lnTo>
                <a:lnTo>
                  <a:pt x="2003" y="1690"/>
                </a:lnTo>
                <a:lnTo>
                  <a:pt x="1998" y="1688"/>
                </a:lnTo>
                <a:lnTo>
                  <a:pt x="1987" y="1683"/>
                </a:lnTo>
                <a:lnTo>
                  <a:pt x="1982" y="1679"/>
                </a:lnTo>
                <a:lnTo>
                  <a:pt x="1977" y="1675"/>
                </a:lnTo>
                <a:lnTo>
                  <a:pt x="1966" y="1667"/>
                </a:lnTo>
                <a:lnTo>
                  <a:pt x="1956" y="1657"/>
                </a:lnTo>
                <a:lnTo>
                  <a:pt x="1945" y="1646"/>
                </a:lnTo>
                <a:lnTo>
                  <a:pt x="1945" y="1690"/>
                </a:lnTo>
                <a:lnTo>
                  <a:pt x="1865" y="1690"/>
                </a:lnTo>
                <a:lnTo>
                  <a:pt x="1865" y="1095"/>
                </a:lnTo>
                <a:lnTo>
                  <a:pt x="1945" y="1095"/>
                </a:lnTo>
                <a:lnTo>
                  <a:pt x="1945" y="1289"/>
                </a:lnTo>
                <a:lnTo>
                  <a:pt x="1954" y="1278"/>
                </a:lnTo>
                <a:lnTo>
                  <a:pt x="1964" y="1268"/>
                </a:lnTo>
                <a:lnTo>
                  <a:pt x="1976" y="1260"/>
                </a:lnTo>
                <a:lnTo>
                  <a:pt x="1985" y="1252"/>
                </a:lnTo>
                <a:lnTo>
                  <a:pt x="1997" y="1247"/>
                </a:lnTo>
                <a:lnTo>
                  <a:pt x="2003" y="1245"/>
                </a:lnTo>
                <a:lnTo>
                  <a:pt x="2008" y="1242"/>
                </a:lnTo>
                <a:lnTo>
                  <a:pt x="2013" y="1241"/>
                </a:lnTo>
                <a:lnTo>
                  <a:pt x="2019" y="1240"/>
                </a:lnTo>
                <a:lnTo>
                  <a:pt x="2030" y="1240"/>
                </a:lnTo>
                <a:lnTo>
                  <a:pt x="2041" y="1240"/>
                </a:lnTo>
                <a:lnTo>
                  <a:pt x="2052" y="1242"/>
                </a:lnTo>
                <a:lnTo>
                  <a:pt x="2057" y="1245"/>
                </a:lnTo>
                <a:lnTo>
                  <a:pt x="2061" y="1247"/>
                </a:lnTo>
                <a:lnTo>
                  <a:pt x="2066" y="1250"/>
                </a:lnTo>
                <a:lnTo>
                  <a:pt x="2070" y="1252"/>
                </a:lnTo>
                <a:lnTo>
                  <a:pt x="2073" y="1256"/>
                </a:lnTo>
                <a:lnTo>
                  <a:pt x="2077" y="1260"/>
                </a:lnTo>
                <a:lnTo>
                  <a:pt x="2081" y="1265"/>
                </a:lnTo>
                <a:lnTo>
                  <a:pt x="2084" y="1268"/>
                </a:lnTo>
                <a:lnTo>
                  <a:pt x="2089" y="1279"/>
                </a:lnTo>
                <a:lnTo>
                  <a:pt x="2094" y="1291"/>
                </a:lnTo>
                <a:lnTo>
                  <a:pt x="2098" y="1307"/>
                </a:lnTo>
                <a:lnTo>
                  <a:pt x="2099" y="1315"/>
                </a:lnTo>
                <a:lnTo>
                  <a:pt x="2102" y="1326"/>
                </a:lnTo>
                <a:lnTo>
                  <a:pt x="2104" y="1350"/>
                </a:lnTo>
                <a:lnTo>
                  <a:pt x="2104" y="1365"/>
                </a:lnTo>
                <a:lnTo>
                  <a:pt x="2104" y="1380"/>
                </a:lnTo>
                <a:lnTo>
                  <a:pt x="2104" y="1557"/>
                </a:lnTo>
                <a:close/>
                <a:moveTo>
                  <a:pt x="2281" y="1622"/>
                </a:moveTo>
                <a:lnTo>
                  <a:pt x="2289" y="1622"/>
                </a:lnTo>
                <a:lnTo>
                  <a:pt x="2295" y="1621"/>
                </a:lnTo>
                <a:lnTo>
                  <a:pt x="2300" y="1618"/>
                </a:lnTo>
                <a:lnTo>
                  <a:pt x="2305" y="1615"/>
                </a:lnTo>
                <a:lnTo>
                  <a:pt x="2307" y="1612"/>
                </a:lnTo>
                <a:lnTo>
                  <a:pt x="2308" y="1610"/>
                </a:lnTo>
                <a:lnTo>
                  <a:pt x="2312" y="1605"/>
                </a:lnTo>
                <a:lnTo>
                  <a:pt x="2315" y="1597"/>
                </a:lnTo>
                <a:lnTo>
                  <a:pt x="2317" y="1590"/>
                </a:lnTo>
                <a:lnTo>
                  <a:pt x="2317" y="1584"/>
                </a:lnTo>
                <a:lnTo>
                  <a:pt x="2317" y="1573"/>
                </a:lnTo>
                <a:lnTo>
                  <a:pt x="2317" y="1534"/>
                </a:lnTo>
                <a:lnTo>
                  <a:pt x="2401" y="1534"/>
                </a:lnTo>
                <a:lnTo>
                  <a:pt x="2401" y="1547"/>
                </a:lnTo>
                <a:lnTo>
                  <a:pt x="2401" y="1565"/>
                </a:lnTo>
                <a:lnTo>
                  <a:pt x="2401" y="1580"/>
                </a:lnTo>
                <a:lnTo>
                  <a:pt x="2399" y="1600"/>
                </a:lnTo>
                <a:lnTo>
                  <a:pt x="2396" y="1612"/>
                </a:lnTo>
                <a:lnTo>
                  <a:pt x="2392" y="1625"/>
                </a:lnTo>
                <a:lnTo>
                  <a:pt x="2386" y="1637"/>
                </a:lnTo>
                <a:lnTo>
                  <a:pt x="2384" y="1642"/>
                </a:lnTo>
                <a:lnTo>
                  <a:pt x="2380" y="1647"/>
                </a:lnTo>
                <a:lnTo>
                  <a:pt x="2376" y="1653"/>
                </a:lnTo>
                <a:lnTo>
                  <a:pt x="2371" y="1659"/>
                </a:lnTo>
                <a:lnTo>
                  <a:pt x="2362" y="1668"/>
                </a:lnTo>
                <a:lnTo>
                  <a:pt x="2357" y="1673"/>
                </a:lnTo>
                <a:lnTo>
                  <a:pt x="2350" y="1677"/>
                </a:lnTo>
                <a:lnTo>
                  <a:pt x="2339" y="1684"/>
                </a:lnTo>
                <a:lnTo>
                  <a:pt x="2327" y="1689"/>
                </a:lnTo>
                <a:lnTo>
                  <a:pt x="2319" y="1690"/>
                </a:lnTo>
                <a:lnTo>
                  <a:pt x="2313" y="1693"/>
                </a:lnTo>
                <a:lnTo>
                  <a:pt x="2306" y="1694"/>
                </a:lnTo>
                <a:lnTo>
                  <a:pt x="2298" y="1695"/>
                </a:lnTo>
                <a:lnTo>
                  <a:pt x="2291" y="1695"/>
                </a:lnTo>
                <a:lnTo>
                  <a:pt x="2284" y="1695"/>
                </a:lnTo>
                <a:lnTo>
                  <a:pt x="2268" y="1695"/>
                </a:lnTo>
                <a:lnTo>
                  <a:pt x="2254" y="1693"/>
                </a:lnTo>
                <a:lnTo>
                  <a:pt x="2240" y="1689"/>
                </a:lnTo>
                <a:lnTo>
                  <a:pt x="2228" y="1684"/>
                </a:lnTo>
                <a:lnTo>
                  <a:pt x="2222" y="1682"/>
                </a:lnTo>
                <a:lnTo>
                  <a:pt x="2216" y="1678"/>
                </a:lnTo>
                <a:lnTo>
                  <a:pt x="2204" y="1670"/>
                </a:lnTo>
                <a:lnTo>
                  <a:pt x="2199" y="1666"/>
                </a:lnTo>
                <a:lnTo>
                  <a:pt x="2195" y="1661"/>
                </a:lnTo>
                <a:lnTo>
                  <a:pt x="2186" y="1651"/>
                </a:lnTo>
                <a:lnTo>
                  <a:pt x="2180" y="1641"/>
                </a:lnTo>
                <a:lnTo>
                  <a:pt x="2175" y="1631"/>
                </a:lnTo>
                <a:lnTo>
                  <a:pt x="2172" y="1626"/>
                </a:lnTo>
                <a:lnTo>
                  <a:pt x="2170" y="1621"/>
                </a:lnTo>
                <a:lnTo>
                  <a:pt x="2165" y="1609"/>
                </a:lnTo>
                <a:lnTo>
                  <a:pt x="2162" y="1595"/>
                </a:lnTo>
                <a:lnTo>
                  <a:pt x="2160" y="1580"/>
                </a:lnTo>
                <a:lnTo>
                  <a:pt x="2159" y="1565"/>
                </a:lnTo>
                <a:lnTo>
                  <a:pt x="2157" y="1548"/>
                </a:lnTo>
                <a:lnTo>
                  <a:pt x="2157" y="1393"/>
                </a:lnTo>
                <a:lnTo>
                  <a:pt x="2159" y="1376"/>
                </a:lnTo>
                <a:lnTo>
                  <a:pt x="2160" y="1359"/>
                </a:lnTo>
                <a:lnTo>
                  <a:pt x="2162" y="1344"/>
                </a:lnTo>
                <a:lnTo>
                  <a:pt x="2165" y="1330"/>
                </a:lnTo>
                <a:lnTo>
                  <a:pt x="2169" y="1318"/>
                </a:lnTo>
                <a:lnTo>
                  <a:pt x="2173" y="1305"/>
                </a:lnTo>
                <a:lnTo>
                  <a:pt x="2178" y="1296"/>
                </a:lnTo>
                <a:lnTo>
                  <a:pt x="2185" y="1287"/>
                </a:lnTo>
                <a:lnTo>
                  <a:pt x="2195" y="1276"/>
                </a:lnTo>
                <a:lnTo>
                  <a:pt x="2198" y="1271"/>
                </a:lnTo>
                <a:lnTo>
                  <a:pt x="2204" y="1266"/>
                </a:lnTo>
                <a:lnTo>
                  <a:pt x="2214" y="1258"/>
                </a:lnTo>
                <a:lnTo>
                  <a:pt x="2227" y="1252"/>
                </a:lnTo>
                <a:lnTo>
                  <a:pt x="2239" y="1246"/>
                </a:lnTo>
                <a:lnTo>
                  <a:pt x="2245" y="1245"/>
                </a:lnTo>
                <a:lnTo>
                  <a:pt x="2251" y="1242"/>
                </a:lnTo>
                <a:lnTo>
                  <a:pt x="2259" y="1241"/>
                </a:lnTo>
                <a:lnTo>
                  <a:pt x="2266" y="1241"/>
                </a:lnTo>
                <a:lnTo>
                  <a:pt x="2274" y="1240"/>
                </a:lnTo>
                <a:lnTo>
                  <a:pt x="2281" y="1240"/>
                </a:lnTo>
                <a:lnTo>
                  <a:pt x="2296" y="1241"/>
                </a:lnTo>
                <a:lnTo>
                  <a:pt x="2310" y="1242"/>
                </a:lnTo>
                <a:lnTo>
                  <a:pt x="2316" y="1245"/>
                </a:lnTo>
                <a:lnTo>
                  <a:pt x="2323" y="1246"/>
                </a:lnTo>
                <a:lnTo>
                  <a:pt x="2329" y="1249"/>
                </a:lnTo>
                <a:lnTo>
                  <a:pt x="2336" y="1252"/>
                </a:lnTo>
                <a:lnTo>
                  <a:pt x="2341" y="1255"/>
                </a:lnTo>
                <a:lnTo>
                  <a:pt x="2347" y="1258"/>
                </a:lnTo>
                <a:lnTo>
                  <a:pt x="2352" y="1262"/>
                </a:lnTo>
                <a:lnTo>
                  <a:pt x="2357" y="1266"/>
                </a:lnTo>
                <a:lnTo>
                  <a:pt x="2366" y="1276"/>
                </a:lnTo>
                <a:lnTo>
                  <a:pt x="2371" y="1281"/>
                </a:lnTo>
                <a:lnTo>
                  <a:pt x="2375" y="1287"/>
                </a:lnTo>
                <a:lnTo>
                  <a:pt x="2381" y="1296"/>
                </a:lnTo>
                <a:lnTo>
                  <a:pt x="2386" y="1305"/>
                </a:lnTo>
                <a:lnTo>
                  <a:pt x="2391" y="1317"/>
                </a:lnTo>
                <a:lnTo>
                  <a:pt x="2395" y="1329"/>
                </a:lnTo>
                <a:lnTo>
                  <a:pt x="2396" y="1336"/>
                </a:lnTo>
                <a:lnTo>
                  <a:pt x="2397" y="1343"/>
                </a:lnTo>
                <a:lnTo>
                  <a:pt x="2400" y="1357"/>
                </a:lnTo>
                <a:lnTo>
                  <a:pt x="2401" y="1374"/>
                </a:lnTo>
                <a:lnTo>
                  <a:pt x="2402" y="1391"/>
                </a:lnTo>
                <a:lnTo>
                  <a:pt x="2402" y="1481"/>
                </a:lnTo>
                <a:lnTo>
                  <a:pt x="2242" y="1481"/>
                </a:lnTo>
                <a:lnTo>
                  <a:pt x="2242" y="1562"/>
                </a:lnTo>
                <a:lnTo>
                  <a:pt x="2243" y="1575"/>
                </a:lnTo>
                <a:lnTo>
                  <a:pt x="2244" y="1588"/>
                </a:lnTo>
                <a:lnTo>
                  <a:pt x="2245" y="1594"/>
                </a:lnTo>
                <a:lnTo>
                  <a:pt x="2246" y="1599"/>
                </a:lnTo>
                <a:lnTo>
                  <a:pt x="2249" y="1602"/>
                </a:lnTo>
                <a:lnTo>
                  <a:pt x="2251" y="1607"/>
                </a:lnTo>
                <a:lnTo>
                  <a:pt x="2256" y="1614"/>
                </a:lnTo>
                <a:lnTo>
                  <a:pt x="2264" y="1618"/>
                </a:lnTo>
                <a:lnTo>
                  <a:pt x="2268" y="1621"/>
                </a:lnTo>
                <a:lnTo>
                  <a:pt x="2271" y="1621"/>
                </a:lnTo>
                <a:lnTo>
                  <a:pt x="2281" y="1622"/>
                </a:lnTo>
                <a:close/>
                <a:moveTo>
                  <a:pt x="0" y="0"/>
                </a:moveTo>
                <a:lnTo>
                  <a:pt x="700" y="0"/>
                </a:lnTo>
                <a:lnTo>
                  <a:pt x="1401" y="0"/>
                </a:lnTo>
                <a:lnTo>
                  <a:pt x="2103" y="0"/>
                </a:lnTo>
                <a:lnTo>
                  <a:pt x="2804" y="0"/>
                </a:lnTo>
                <a:lnTo>
                  <a:pt x="2804" y="702"/>
                </a:lnTo>
                <a:lnTo>
                  <a:pt x="2804" y="1403"/>
                </a:lnTo>
                <a:lnTo>
                  <a:pt x="2804" y="2105"/>
                </a:lnTo>
                <a:lnTo>
                  <a:pt x="2804" y="2806"/>
                </a:lnTo>
                <a:lnTo>
                  <a:pt x="2103" y="2806"/>
                </a:lnTo>
                <a:lnTo>
                  <a:pt x="1401" y="2806"/>
                </a:lnTo>
                <a:lnTo>
                  <a:pt x="700" y="2806"/>
                </a:lnTo>
                <a:lnTo>
                  <a:pt x="0" y="2806"/>
                </a:lnTo>
                <a:lnTo>
                  <a:pt x="0" y="2105"/>
                </a:lnTo>
                <a:lnTo>
                  <a:pt x="0" y="1403"/>
                </a:lnTo>
                <a:lnTo>
                  <a:pt x="0" y="702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0201" tIns="40100" rIns="80201" bIns="40100" numCol="1" anchor="t" anchorCtr="0" compatLnSpc="1">
            <a:prstTxWarp prst="textNoShape">
              <a:avLst/>
            </a:prstTxWarp>
          </a:bodyPr>
          <a:lstStyle/>
          <a:p>
            <a:endParaRPr lang="en-GB" sz="1579"/>
          </a:p>
        </p:txBody>
      </p:sp>
      <p:sp>
        <p:nvSpPr>
          <p:cNvPr id="10" name="Freeform 11">
            <a:hlinkClick r:id="rId5" tooltip="Instagram"/>
          </p:cNvPr>
          <p:cNvSpPr>
            <a:spLocks noChangeAspect="1" noEditPoints="1"/>
          </p:cNvSpPr>
          <p:nvPr/>
        </p:nvSpPr>
        <p:spPr bwMode="auto">
          <a:xfrm>
            <a:off x="5851984" y="684481"/>
            <a:ext cx="252600" cy="317600"/>
          </a:xfrm>
          <a:custGeom>
            <a:avLst/>
            <a:gdLst>
              <a:gd name="T0" fmla="*/ 1898 w 2806"/>
              <a:gd name="T1" fmla="*/ 704 h 2806"/>
              <a:gd name="T2" fmla="*/ 2038 w 2806"/>
              <a:gd name="T3" fmla="*/ 791 h 2806"/>
              <a:gd name="T4" fmla="*/ 2114 w 2806"/>
              <a:gd name="T5" fmla="*/ 964 h 2806"/>
              <a:gd name="T6" fmla="*/ 2126 w 2806"/>
              <a:gd name="T7" fmla="*/ 1699 h 2806"/>
              <a:gd name="T8" fmla="*/ 2072 w 2806"/>
              <a:gd name="T9" fmla="*/ 1967 h 2806"/>
              <a:gd name="T10" fmla="*/ 1954 w 2806"/>
              <a:gd name="T11" fmla="*/ 2080 h 2806"/>
              <a:gd name="T12" fmla="*/ 1699 w 2806"/>
              <a:gd name="T13" fmla="*/ 2126 h 2806"/>
              <a:gd name="T14" fmla="*/ 943 w 2806"/>
              <a:gd name="T15" fmla="*/ 2111 h 2806"/>
              <a:gd name="T16" fmla="*/ 792 w 2806"/>
              <a:gd name="T17" fmla="*/ 2038 h 2806"/>
              <a:gd name="T18" fmla="*/ 700 w 2806"/>
              <a:gd name="T19" fmla="*/ 1882 h 2806"/>
              <a:gd name="T20" fmla="*/ 678 w 2806"/>
              <a:gd name="T21" fmla="*/ 1210 h 2806"/>
              <a:gd name="T22" fmla="*/ 720 w 2806"/>
              <a:gd name="T23" fmla="*/ 866 h 2806"/>
              <a:gd name="T24" fmla="*/ 826 w 2806"/>
              <a:gd name="T25" fmla="*/ 741 h 2806"/>
              <a:gd name="T26" fmla="*/ 1029 w 2806"/>
              <a:gd name="T27" fmla="*/ 684 h 2806"/>
              <a:gd name="T28" fmla="*/ 1005 w 2806"/>
              <a:gd name="T29" fmla="*/ 526 h 2806"/>
              <a:gd name="T30" fmla="*/ 762 w 2806"/>
              <a:gd name="T31" fmla="*/ 594 h 2806"/>
              <a:gd name="T32" fmla="*/ 594 w 2806"/>
              <a:gd name="T33" fmla="*/ 761 h 2806"/>
              <a:gd name="T34" fmla="*/ 523 w 2806"/>
              <a:gd name="T35" fmla="*/ 1038 h 2806"/>
              <a:gd name="T36" fmla="*/ 533 w 2806"/>
              <a:gd name="T37" fmla="*/ 1862 h 2806"/>
              <a:gd name="T38" fmla="*/ 619 w 2806"/>
              <a:gd name="T39" fmla="*/ 2084 h 2806"/>
              <a:gd name="T40" fmla="*/ 782 w 2806"/>
              <a:gd name="T41" fmla="*/ 2222 h 2806"/>
              <a:gd name="T42" fmla="*/ 1101 w 2806"/>
              <a:gd name="T43" fmla="*/ 2284 h 2806"/>
              <a:gd name="T44" fmla="*/ 1889 w 2806"/>
              <a:gd name="T45" fmla="*/ 2268 h 2806"/>
              <a:gd name="T46" fmla="*/ 2092 w 2806"/>
              <a:gd name="T47" fmla="*/ 2180 h 2806"/>
              <a:gd name="T48" fmla="*/ 2241 w 2806"/>
              <a:gd name="T49" fmla="*/ 1982 h 2806"/>
              <a:gd name="T50" fmla="*/ 2288 w 2806"/>
              <a:gd name="T51" fmla="*/ 1548 h 2806"/>
              <a:gd name="T52" fmla="*/ 2259 w 2806"/>
              <a:gd name="T53" fmla="*/ 880 h 2806"/>
              <a:gd name="T54" fmla="*/ 2165 w 2806"/>
              <a:gd name="T55" fmla="*/ 694 h 2806"/>
              <a:gd name="T56" fmla="*/ 1961 w 2806"/>
              <a:gd name="T57" fmla="*/ 557 h 2806"/>
              <a:gd name="T58" fmla="*/ 1403 w 2806"/>
              <a:gd name="T59" fmla="*/ 518 h 2806"/>
              <a:gd name="T60" fmla="*/ 1168 w 2806"/>
              <a:gd name="T61" fmla="*/ 1015 h 2806"/>
              <a:gd name="T62" fmla="*/ 994 w 2806"/>
              <a:gd name="T63" fmla="*/ 1206 h 2806"/>
              <a:gd name="T64" fmla="*/ 951 w 2806"/>
              <a:gd name="T65" fmla="*/ 1449 h 2806"/>
              <a:gd name="T66" fmla="*/ 1053 w 2806"/>
              <a:gd name="T67" fmla="*/ 1691 h 2806"/>
              <a:gd name="T68" fmla="*/ 1268 w 2806"/>
              <a:gd name="T69" fmla="*/ 1836 h 2806"/>
              <a:gd name="T70" fmla="*/ 1517 w 2806"/>
              <a:gd name="T71" fmla="*/ 1842 h 2806"/>
              <a:gd name="T72" fmla="*/ 1740 w 2806"/>
              <a:gd name="T73" fmla="*/ 1709 h 2806"/>
              <a:gd name="T74" fmla="*/ 1848 w 2806"/>
              <a:gd name="T75" fmla="*/ 1495 h 2806"/>
              <a:gd name="T76" fmla="*/ 1821 w 2806"/>
              <a:gd name="T77" fmla="*/ 1226 h 2806"/>
              <a:gd name="T78" fmla="*/ 1657 w 2806"/>
              <a:gd name="T79" fmla="*/ 1027 h 2806"/>
              <a:gd name="T80" fmla="*/ 1427 w 2806"/>
              <a:gd name="T81" fmla="*/ 949 h 2806"/>
              <a:gd name="T82" fmla="*/ 1262 w 2806"/>
              <a:gd name="T83" fmla="*/ 1662 h 2806"/>
              <a:gd name="T84" fmla="*/ 1143 w 2806"/>
              <a:gd name="T85" fmla="*/ 1543 h 2806"/>
              <a:gd name="T86" fmla="*/ 1110 w 2806"/>
              <a:gd name="T87" fmla="*/ 1373 h 2806"/>
              <a:gd name="T88" fmla="*/ 1175 w 2806"/>
              <a:gd name="T89" fmla="*/ 1215 h 2806"/>
              <a:gd name="T90" fmla="*/ 1315 w 2806"/>
              <a:gd name="T91" fmla="*/ 1121 h 2806"/>
              <a:gd name="T92" fmla="*/ 1491 w 2806"/>
              <a:gd name="T93" fmla="*/ 1121 h 2806"/>
              <a:gd name="T94" fmla="*/ 1631 w 2806"/>
              <a:gd name="T95" fmla="*/ 1215 h 2806"/>
              <a:gd name="T96" fmla="*/ 1696 w 2806"/>
              <a:gd name="T97" fmla="*/ 1373 h 2806"/>
              <a:gd name="T98" fmla="*/ 1662 w 2806"/>
              <a:gd name="T99" fmla="*/ 1543 h 2806"/>
              <a:gd name="T100" fmla="*/ 1544 w 2806"/>
              <a:gd name="T101" fmla="*/ 1662 h 2806"/>
              <a:gd name="T102" fmla="*/ 1769 w 2806"/>
              <a:gd name="T103" fmla="*/ 921 h 2806"/>
              <a:gd name="T104" fmla="*/ 1834 w 2806"/>
              <a:gd name="T105" fmla="*/ 833 h 2806"/>
              <a:gd name="T106" fmla="*/ 1946 w 2806"/>
              <a:gd name="T107" fmla="*/ 852 h 2806"/>
              <a:gd name="T108" fmla="*/ 1976 w 2806"/>
              <a:gd name="T109" fmla="*/ 963 h 2806"/>
              <a:gd name="T110" fmla="*/ 1897 w 2806"/>
              <a:gd name="T111" fmla="*/ 1034 h 2806"/>
              <a:gd name="T112" fmla="*/ 1793 w 2806"/>
              <a:gd name="T113" fmla="*/ 998 h 2806"/>
              <a:gd name="T114" fmla="*/ 2806 w 2806"/>
              <a:gd name="T115" fmla="*/ 0 h 2806"/>
              <a:gd name="T116" fmla="*/ 0 w 2806"/>
              <a:gd name="T117" fmla="*/ 0 h 28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806" h="2806">
                <a:moveTo>
                  <a:pt x="1403" y="678"/>
                </a:moveTo>
                <a:lnTo>
                  <a:pt x="1545" y="678"/>
                </a:lnTo>
                <a:lnTo>
                  <a:pt x="1595" y="678"/>
                </a:lnTo>
                <a:lnTo>
                  <a:pt x="1636" y="679"/>
                </a:lnTo>
                <a:lnTo>
                  <a:pt x="1699" y="681"/>
                </a:lnTo>
                <a:lnTo>
                  <a:pt x="1761" y="683"/>
                </a:lnTo>
                <a:lnTo>
                  <a:pt x="1790" y="685"/>
                </a:lnTo>
                <a:lnTo>
                  <a:pt x="1818" y="688"/>
                </a:lnTo>
                <a:lnTo>
                  <a:pt x="1842" y="692"/>
                </a:lnTo>
                <a:lnTo>
                  <a:pt x="1863" y="695"/>
                </a:lnTo>
                <a:lnTo>
                  <a:pt x="1882" y="699"/>
                </a:lnTo>
                <a:lnTo>
                  <a:pt x="1898" y="704"/>
                </a:lnTo>
                <a:lnTo>
                  <a:pt x="1912" y="709"/>
                </a:lnTo>
                <a:lnTo>
                  <a:pt x="1925" y="714"/>
                </a:lnTo>
                <a:lnTo>
                  <a:pt x="1940" y="720"/>
                </a:lnTo>
                <a:lnTo>
                  <a:pt x="1954" y="726"/>
                </a:lnTo>
                <a:lnTo>
                  <a:pt x="1967" y="734"/>
                </a:lnTo>
                <a:lnTo>
                  <a:pt x="1980" y="741"/>
                </a:lnTo>
                <a:lnTo>
                  <a:pt x="1992" y="750"/>
                </a:lnTo>
                <a:lnTo>
                  <a:pt x="2003" y="758"/>
                </a:lnTo>
                <a:lnTo>
                  <a:pt x="2009" y="763"/>
                </a:lnTo>
                <a:lnTo>
                  <a:pt x="2014" y="768"/>
                </a:lnTo>
                <a:lnTo>
                  <a:pt x="2027" y="779"/>
                </a:lnTo>
                <a:lnTo>
                  <a:pt x="2038" y="791"/>
                </a:lnTo>
                <a:lnTo>
                  <a:pt x="2048" y="803"/>
                </a:lnTo>
                <a:lnTo>
                  <a:pt x="2056" y="814"/>
                </a:lnTo>
                <a:lnTo>
                  <a:pt x="2065" y="827"/>
                </a:lnTo>
                <a:lnTo>
                  <a:pt x="2072" y="839"/>
                </a:lnTo>
                <a:lnTo>
                  <a:pt x="2080" y="852"/>
                </a:lnTo>
                <a:lnTo>
                  <a:pt x="2086" y="866"/>
                </a:lnTo>
                <a:lnTo>
                  <a:pt x="2092" y="881"/>
                </a:lnTo>
                <a:lnTo>
                  <a:pt x="2097" y="893"/>
                </a:lnTo>
                <a:lnTo>
                  <a:pt x="2102" y="908"/>
                </a:lnTo>
                <a:lnTo>
                  <a:pt x="2106" y="924"/>
                </a:lnTo>
                <a:lnTo>
                  <a:pt x="2111" y="943"/>
                </a:lnTo>
                <a:lnTo>
                  <a:pt x="2114" y="964"/>
                </a:lnTo>
                <a:lnTo>
                  <a:pt x="2118" y="987"/>
                </a:lnTo>
                <a:lnTo>
                  <a:pt x="2121" y="1015"/>
                </a:lnTo>
                <a:lnTo>
                  <a:pt x="2122" y="1029"/>
                </a:lnTo>
                <a:lnTo>
                  <a:pt x="2123" y="1046"/>
                </a:lnTo>
                <a:lnTo>
                  <a:pt x="2126" y="1107"/>
                </a:lnTo>
                <a:lnTo>
                  <a:pt x="2127" y="1170"/>
                </a:lnTo>
                <a:lnTo>
                  <a:pt x="2128" y="1261"/>
                </a:lnTo>
                <a:lnTo>
                  <a:pt x="2128" y="1403"/>
                </a:lnTo>
                <a:lnTo>
                  <a:pt x="2128" y="1545"/>
                </a:lnTo>
                <a:lnTo>
                  <a:pt x="2128" y="1595"/>
                </a:lnTo>
                <a:lnTo>
                  <a:pt x="2127" y="1636"/>
                </a:lnTo>
                <a:lnTo>
                  <a:pt x="2126" y="1699"/>
                </a:lnTo>
                <a:lnTo>
                  <a:pt x="2123" y="1761"/>
                </a:lnTo>
                <a:lnTo>
                  <a:pt x="2121" y="1790"/>
                </a:lnTo>
                <a:lnTo>
                  <a:pt x="2118" y="1818"/>
                </a:lnTo>
                <a:lnTo>
                  <a:pt x="2114" y="1842"/>
                </a:lnTo>
                <a:lnTo>
                  <a:pt x="2111" y="1863"/>
                </a:lnTo>
                <a:lnTo>
                  <a:pt x="2106" y="1882"/>
                </a:lnTo>
                <a:lnTo>
                  <a:pt x="2102" y="1898"/>
                </a:lnTo>
                <a:lnTo>
                  <a:pt x="2097" y="1912"/>
                </a:lnTo>
                <a:lnTo>
                  <a:pt x="2092" y="1924"/>
                </a:lnTo>
                <a:lnTo>
                  <a:pt x="2086" y="1940"/>
                </a:lnTo>
                <a:lnTo>
                  <a:pt x="2080" y="1954"/>
                </a:lnTo>
                <a:lnTo>
                  <a:pt x="2072" y="1967"/>
                </a:lnTo>
                <a:lnTo>
                  <a:pt x="2065" y="1980"/>
                </a:lnTo>
                <a:lnTo>
                  <a:pt x="2056" y="1991"/>
                </a:lnTo>
                <a:lnTo>
                  <a:pt x="2048" y="2003"/>
                </a:lnTo>
                <a:lnTo>
                  <a:pt x="2043" y="2009"/>
                </a:lnTo>
                <a:lnTo>
                  <a:pt x="2038" y="2014"/>
                </a:lnTo>
                <a:lnTo>
                  <a:pt x="2027" y="2027"/>
                </a:lnTo>
                <a:lnTo>
                  <a:pt x="2014" y="2038"/>
                </a:lnTo>
                <a:lnTo>
                  <a:pt x="2003" y="2048"/>
                </a:lnTo>
                <a:lnTo>
                  <a:pt x="1992" y="2056"/>
                </a:lnTo>
                <a:lnTo>
                  <a:pt x="1980" y="2065"/>
                </a:lnTo>
                <a:lnTo>
                  <a:pt x="1967" y="2072"/>
                </a:lnTo>
                <a:lnTo>
                  <a:pt x="1954" y="2080"/>
                </a:lnTo>
                <a:lnTo>
                  <a:pt x="1940" y="2086"/>
                </a:lnTo>
                <a:lnTo>
                  <a:pt x="1925" y="2092"/>
                </a:lnTo>
                <a:lnTo>
                  <a:pt x="1912" y="2097"/>
                </a:lnTo>
                <a:lnTo>
                  <a:pt x="1898" y="2102"/>
                </a:lnTo>
                <a:lnTo>
                  <a:pt x="1882" y="2106"/>
                </a:lnTo>
                <a:lnTo>
                  <a:pt x="1863" y="2111"/>
                </a:lnTo>
                <a:lnTo>
                  <a:pt x="1842" y="2115"/>
                </a:lnTo>
                <a:lnTo>
                  <a:pt x="1818" y="2118"/>
                </a:lnTo>
                <a:lnTo>
                  <a:pt x="1790" y="2121"/>
                </a:lnTo>
                <a:lnTo>
                  <a:pt x="1777" y="2122"/>
                </a:lnTo>
                <a:lnTo>
                  <a:pt x="1761" y="2123"/>
                </a:lnTo>
                <a:lnTo>
                  <a:pt x="1699" y="2126"/>
                </a:lnTo>
                <a:lnTo>
                  <a:pt x="1636" y="2127"/>
                </a:lnTo>
                <a:lnTo>
                  <a:pt x="1545" y="2128"/>
                </a:lnTo>
                <a:lnTo>
                  <a:pt x="1403" y="2128"/>
                </a:lnTo>
                <a:lnTo>
                  <a:pt x="1261" y="2128"/>
                </a:lnTo>
                <a:lnTo>
                  <a:pt x="1211" y="2127"/>
                </a:lnTo>
                <a:lnTo>
                  <a:pt x="1170" y="2127"/>
                </a:lnTo>
                <a:lnTo>
                  <a:pt x="1107" y="2126"/>
                </a:lnTo>
                <a:lnTo>
                  <a:pt x="1045" y="2123"/>
                </a:lnTo>
                <a:lnTo>
                  <a:pt x="1015" y="2121"/>
                </a:lnTo>
                <a:lnTo>
                  <a:pt x="989" y="2118"/>
                </a:lnTo>
                <a:lnTo>
                  <a:pt x="964" y="2115"/>
                </a:lnTo>
                <a:lnTo>
                  <a:pt x="943" y="2111"/>
                </a:lnTo>
                <a:lnTo>
                  <a:pt x="924" y="2106"/>
                </a:lnTo>
                <a:lnTo>
                  <a:pt x="908" y="2102"/>
                </a:lnTo>
                <a:lnTo>
                  <a:pt x="893" y="2097"/>
                </a:lnTo>
                <a:lnTo>
                  <a:pt x="881" y="2092"/>
                </a:lnTo>
                <a:lnTo>
                  <a:pt x="866" y="2086"/>
                </a:lnTo>
                <a:lnTo>
                  <a:pt x="852" y="2080"/>
                </a:lnTo>
                <a:lnTo>
                  <a:pt x="839" y="2072"/>
                </a:lnTo>
                <a:lnTo>
                  <a:pt x="826" y="2065"/>
                </a:lnTo>
                <a:lnTo>
                  <a:pt x="814" y="2056"/>
                </a:lnTo>
                <a:lnTo>
                  <a:pt x="803" y="2048"/>
                </a:lnTo>
                <a:lnTo>
                  <a:pt x="797" y="2043"/>
                </a:lnTo>
                <a:lnTo>
                  <a:pt x="792" y="2038"/>
                </a:lnTo>
                <a:lnTo>
                  <a:pt x="779" y="2027"/>
                </a:lnTo>
                <a:lnTo>
                  <a:pt x="768" y="2014"/>
                </a:lnTo>
                <a:lnTo>
                  <a:pt x="758" y="2003"/>
                </a:lnTo>
                <a:lnTo>
                  <a:pt x="750" y="1991"/>
                </a:lnTo>
                <a:lnTo>
                  <a:pt x="741" y="1980"/>
                </a:lnTo>
                <a:lnTo>
                  <a:pt x="734" y="1967"/>
                </a:lnTo>
                <a:lnTo>
                  <a:pt x="726" y="1954"/>
                </a:lnTo>
                <a:lnTo>
                  <a:pt x="720" y="1940"/>
                </a:lnTo>
                <a:lnTo>
                  <a:pt x="714" y="1924"/>
                </a:lnTo>
                <a:lnTo>
                  <a:pt x="709" y="1912"/>
                </a:lnTo>
                <a:lnTo>
                  <a:pt x="704" y="1898"/>
                </a:lnTo>
                <a:lnTo>
                  <a:pt x="700" y="1882"/>
                </a:lnTo>
                <a:lnTo>
                  <a:pt x="695" y="1863"/>
                </a:lnTo>
                <a:lnTo>
                  <a:pt x="692" y="1842"/>
                </a:lnTo>
                <a:lnTo>
                  <a:pt x="688" y="1818"/>
                </a:lnTo>
                <a:lnTo>
                  <a:pt x="685" y="1790"/>
                </a:lnTo>
                <a:lnTo>
                  <a:pt x="684" y="1776"/>
                </a:lnTo>
                <a:lnTo>
                  <a:pt x="683" y="1761"/>
                </a:lnTo>
                <a:lnTo>
                  <a:pt x="680" y="1699"/>
                </a:lnTo>
                <a:lnTo>
                  <a:pt x="679" y="1636"/>
                </a:lnTo>
                <a:lnTo>
                  <a:pt x="678" y="1545"/>
                </a:lnTo>
                <a:lnTo>
                  <a:pt x="678" y="1403"/>
                </a:lnTo>
                <a:lnTo>
                  <a:pt x="678" y="1261"/>
                </a:lnTo>
                <a:lnTo>
                  <a:pt x="678" y="1210"/>
                </a:lnTo>
                <a:lnTo>
                  <a:pt x="679" y="1170"/>
                </a:lnTo>
                <a:lnTo>
                  <a:pt x="680" y="1107"/>
                </a:lnTo>
                <a:lnTo>
                  <a:pt x="683" y="1046"/>
                </a:lnTo>
                <a:lnTo>
                  <a:pt x="685" y="1015"/>
                </a:lnTo>
                <a:lnTo>
                  <a:pt x="688" y="987"/>
                </a:lnTo>
                <a:lnTo>
                  <a:pt x="692" y="964"/>
                </a:lnTo>
                <a:lnTo>
                  <a:pt x="695" y="943"/>
                </a:lnTo>
                <a:lnTo>
                  <a:pt x="700" y="924"/>
                </a:lnTo>
                <a:lnTo>
                  <a:pt x="704" y="908"/>
                </a:lnTo>
                <a:lnTo>
                  <a:pt x="709" y="893"/>
                </a:lnTo>
                <a:lnTo>
                  <a:pt x="714" y="881"/>
                </a:lnTo>
                <a:lnTo>
                  <a:pt x="720" y="866"/>
                </a:lnTo>
                <a:lnTo>
                  <a:pt x="726" y="852"/>
                </a:lnTo>
                <a:lnTo>
                  <a:pt x="734" y="839"/>
                </a:lnTo>
                <a:lnTo>
                  <a:pt x="741" y="827"/>
                </a:lnTo>
                <a:lnTo>
                  <a:pt x="750" y="814"/>
                </a:lnTo>
                <a:lnTo>
                  <a:pt x="758" y="803"/>
                </a:lnTo>
                <a:lnTo>
                  <a:pt x="763" y="797"/>
                </a:lnTo>
                <a:lnTo>
                  <a:pt x="768" y="791"/>
                </a:lnTo>
                <a:lnTo>
                  <a:pt x="779" y="779"/>
                </a:lnTo>
                <a:lnTo>
                  <a:pt x="792" y="768"/>
                </a:lnTo>
                <a:lnTo>
                  <a:pt x="803" y="758"/>
                </a:lnTo>
                <a:lnTo>
                  <a:pt x="814" y="750"/>
                </a:lnTo>
                <a:lnTo>
                  <a:pt x="826" y="741"/>
                </a:lnTo>
                <a:lnTo>
                  <a:pt x="839" y="734"/>
                </a:lnTo>
                <a:lnTo>
                  <a:pt x="852" y="726"/>
                </a:lnTo>
                <a:lnTo>
                  <a:pt x="866" y="720"/>
                </a:lnTo>
                <a:lnTo>
                  <a:pt x="881" y="714"/>
                </a:lnTo>
                <a:lnTo>
                  <a:pt x="893" y="709"/>
                </a:lnTo>
                <a:lnTo>
                  <a:pt x="908" y="704"/>
                </a:lnTo>
                <a:lnTo>
                  <a:pt x="924" y="699"/>
                </a:lnTo>
                <a:lnTo>
                  <a:pt x="943" y="695"/>
                </a:lnTo>
                <a:lnTo>
                  <a:pt x="964" y="692"/>
                </a:lnTo>
                <a:lnTo>
                  <a:pt x="989" y="688"/>
                </a:lnTo>
                <a:lnTo>
                  <a:pt x="1015" y="685"/>
                </a:lnTo>
                <a:lnTo>
                  <a:pt x="1029" y="684"/>
                </a:lnTo>
                <a:lnTo>
                  <a:pt x="1045" y="683"/>
                </a:lnTo>
                <a:lnTo>
                  <a:pt x="1107" y="681"/>
                </a:lnTo>
                <a:lnTo>
                  <a:pt x="1170" y="679"/>
                </a:lnTo>
                <a:lnTo>
                  <a:pt x="1261" y="678"/>
                </a:lnTo>
                <a:lnTo>
                  <a:pt x="1403" y="678"/>
                </a:lnTo>
                <a:close/>
                <a:moveTo>
                  <a:pt x="1403" y="518"/>
                </a:moveTo>
                <a:lnTo>
                  <a:pt x="1258" y="518"/>
                </a:lnTo>
                <a:lnTo>
                  <a:pt x="1208" y="520"/>
                </a:lnTo>
                <a:lnTo>
                  <a:pt x="1165" y="520"/>
                </a:lnTo>
                <a:lnTo>
                  <a:pt x="1101" y="521"/>
                </a:lnTo>
                <a:lnTo>
                  <a:pt x="1038" y="523"/>
                </a:lnTo>
                <a:lnTo>
                  <a:pt x="1005" y="526"/>
                </a:lnTo>
                <a:lnTo>
                  <a:pt x="972" y="530"/>
                </a:lnTo>
                <a:lnTo>
                  <a:pt x="944" y="533"/>
                </a:lnTo>
                <a:lnTo>
                  <a:pt x="917" y="538"/>
                </a:lnTo>
                <a:lnTo>
                  <a:pt x="892" y="543"/>
                </a:lnTo>
                <a:lnTo>
                  <a:pt x="880" y="547"/>
                </a:lnTo>
                <a:lnTo>
                  <a:pt x="867" y="549"/>
                </a:lnTo>
                <a:lnTo>
                  <a:pt x="845" y="557"/>
                </a:lnTo>
                <a:lnTo>
                  <a:pt x="824" y="565"/>
                </a:lnTo>
                <a:lnTo>
                  <a:pt x="802" y="574"/>
                </a:lnTo>
                <a:lnTo>
                  <a:pt x="782" y="584"/>
                </a:lnTo>
                <a:lnTo>
                  <a:pt x="772" y="589"/>
                </a:lnTo>
                <a:lnTo>
                  <a:pt x="762" y="594"/>
                </a:lnTo>
                <a:lnTo>
                  <a:pt x="742" y="606"/>
                </a:lnTo>
                <a:lnTo>
                  <a:pt x="723" y="619"/>
                </a:lnTo>
                <a:lnTo>
                  <a:pt x="714" y="626"/>
                </a:lnTo>
                <a:lnTo>
                  <a:pt x="704" y="633"/>
                </a:lnTo>
                <a:lnTo>
                  <a:pt x="685" y="650"/>
                </a:lnTo>
                <a:lnTo>
                  <a:pt x="667" y="667"/>
                </a:lnTo>
                <a:lnTo>
                  <a:pt x="650" y="685"/>
                </a:lnTo>
                <a:lnTo>
                  <a:pt x="633" y="704"/>
                </a:lnTo>
                <a:lnTo>
                  <a:pt x="619" y="723"/>
                </a:lnTo>
                <a:lnTo>
                  <a:pt x="612" y="732"/>
                </a:lnTo>
                <a:lnTo>
                  <a:pt x="606" y="742"/>
                </a:lnTo>
                <a:lnTo>
                  <a:pt x="594" y="761"/>
                </a:lnTo>
                <a:lnTo>
                  <a:pt x="584" y="782"/>
                </a:lnTo>
                <a:lnTo>
                  <a:pt x="574" y="802"/>
                </a:lnTo>
                <a:lnTo>
                  <a:pt x="565" y="824"/>
                </a:lnTo>
                <a:lnTo>
                  <a:pt x="557" y="845"/>
                </a:lnTo>
                <a:lnTo>
                  <a:pt x="551" y="867"/>
                </a:lnTo>
                <a:lnTo>
                  <a:pt x="543" y="891"/>
                </a:lnTo>
                <a:lnTo>
                  <a:pt x="541" y="904"/>
                </a:lnTo>
                <a:lnTo>
                  <a:pt x="538" y="917"/>
                </a:lnTo>
                <a:lnTo>
                  <a:pt x="533" y="944"/>
                </a:lnTo>
                <a:lnTo>
                  <a:pt x="530" y="973"/>
                </a:lnTo>
                <a:lnTo>
                  <a:pt x="526" y="1005"/>
                </a:lnTo>
                <a:lnTo>
                  <a:pt x="523" y="1038"/>
                </a:lnTo>
                <a:lnTo>
                  <a:pt x="521" y="1101"/>
                </a:lnTo>
                <a:lnTo>
                  <a:pt x="520" y="1166"/>
                </a:lnTo>
                <a:lnTo>
                  <a:pt x="518" y="1258"/>
                </a:lnTo>
                <a:lnTo>
                  <a:pt x="518" y="1403"/>
                </a:lnTo>
                <a:lnTo>
                  <a:pt x="518" y="1548"/>
                </a:lnTo>
                <a:lnTo>
                  <a:pt x="520" y="1599"/>
                </a:lnTo>
                <a:lnTo>
                  <a:pt x="520" y="1639"/>
                </a:lnTo>
                <a:lnTo>
                  <a:pt x="521" y="1705"/>
                </a:lnTo>
                <a:lnTo>
                  <a:pt x="523" y="1768"/>
                </a:lnTo>
                <a:lnTo>
                  <a:pt x="526" y="1801"/>
                </a:lnTo>
                <a:lnTo>
                  <a:pt x="530" y="1832"/>
                </a:lnTo>
                <a:lnTo>
                  <a:pt x="533" y="1862"/>
                </a:lnTo>
                <a:lnTo>
                  <a:pt x="538" y="1889"/>
                </a:lnTo>
                <a:lnTo>
                  <a:pt x="543" y="1914"/>
                </a:lnTo>
                <a:lnTo>
                  <a:pt x="547" y="1926"/>
                </a:lnTo>
                <a:lnTo>
                  <a:pt x="551" y="1938"/>
                </a:lnTo>
                <a:lnTo>
                  <a:pt x="557" y="1961"/>
                </a:lnTo>
                <a:lnTo>
                  <a:pt x="565" y="1982"/>
                </a:lnTo>
                <a:lnTo>
                  <a:pt x="574" y="2003"/>
                </a:lnTo>
                <a:lnTo>
                  <a:pt x="584" y="2024"/>
                </a:lnTo>
                <a:lnTo>
                  <a:pt x="589" y="2034"/>
                </a:lnTo>
                <a:lnTo>
                  <a:pt x="594" y="2044"/>
                </a:lnTo>
                <a:lnTo>
                  <a:pt x="606" y="2064"/>
                </a:lnTo>
                <a:lnTo>
                  <a:pt x="619" y="2084"/>
                </a:lnTo>
                <a:lnTo>
                  <a:pt x="626" y="2092"/>
                </a:lnTo>
                <a:lnTo>
                  <a:pt x="633" y="2102"/>
                </a:lnTo>
                <a:lnTo>
                  <a:pt x="641" y="2111"/>
                </a:lnTo>
                <a:lnTo>
                  <a:pt x="650" y="2121"/>
                </a:lnTo>
                <a:lnTo>
                  <a:pt x="667" y="2139"/>
                </a:lnTo>
                <a:lnTo>
                  <a:pt x="685" y="2157"/>
                </a:lnTo>
                <a:lnTo>
                  <a:pt x="704" y="2173"/>
                </a:lnTo>
                <a:lnTo>
                  <a:pt x="723" y="2186"/>
                </a:lnTo>
                <a:lnTo>
                  <a:pt x="732" y="2194"/>
                </a:lnTo>
                <a:lnTo>
                  <a:pt x="742" y="2200"/>
                </a:lnTo>
                <a:lnTo>
                  <a:pt x="762" y="2211"/>
                </a:lnTo>
                <a:lnTo>
                  <a:pt x="782" y="2222"/>
                </a:lnTo>
                <a:lnTo>
                  <a:pt x="802" y="2232"/>
                </a:lnTo>
                <a:lnTo>
                  <a:pt x="824" y="2241"/>
                </a:lnTo>
                <a:lnTo>
                  <a:pt x="845" y="2248"/>
                </a:lnTo>
                <a:lnTo>
                  <a:pt x="867" y="2256"/>
                </a:lnTo>
                <a:lnTo>
                  <a:pt x="892" y="2262"/>
                </a:lnTo>
                <a:lnTo>
                  <a:pt x="904" y="2265"/>
                </a:lnTo>
                <a:lnTo>
                  <a:pt x="917" y="2268"/>
                </a:lnTo>
                <a:lnTo>
                  <a:pt x="944" y="2273"/>
                </a:lnTo>
                <a:lnTo>
                  <a:pt x="972" y="2277"/>
                </a:lnTo>
                <a:lnTo>
                  <a:pt x="1005" y="2280"/>
                </a:lnTo>
                <a:lnTo>
                  <a:pt x="1038" y="2282"/>
                </a:lnTo>
                <a:lnTo>
                  <a:pt x="1101" y="2284"/>
                </a:lnTo>
                <a:lnTo>
                  <a:pt x="1165" y="2287"/>
                </a:lnTo>
                <a:lnTo>
                  <a:pt x="1258" y="2287"/>
                </a:lnTo>
                <a:lnTo>
                  <a:pt x="1403" y="2288"/>
                </a:lnTo>
                <a:lnTo>
                  <a:pt x="1548" y="2287"/>
                </a:lnTo>
                <a:lnTo>
                  <a:pt x="1599" y="2287"/>
                </a:lnTo>
                <a:lnTo>
                  <a:pt x="1641" y="2287"/>
                </a:lnTo>
                <a:lnTo>
                  <a:pt x="1705" y="2284"/>
                </a:lnTo>
                <a:lnTo>
                  <a:pt x="1768" y="2282"/>
                </a:lnTo>
                <a:lnTo>
                  <a:pt x="1801" y="2280"/>
                </a:lnTo>
                <a:lnTo>
                  <a:pt x="1834" y="2277"/>
                </a:lnTo>
                <a:lnTo>
                  <a:pt x="1862" y="2273"/>
                </a:lnTo>
                <a:lnTo>
                  <a:pt x="1889" y="2268"/>
                </a:lnTo>
                <a:lnTo>
                  <a:pt x="1914" y="2262"/>
                </a:lnTo>
                <a:lnTo>
                  <a:pt x="1926" y="2259"/>
                </a:lnTo>
                <a:lnTo>
                  <a:pt x="1939" y="2256"/>
                </a:lnTo>
                <a:lnTo>
                  <a:pt x="1961" y="2248"/>
                </a:lnTo>
                <a:lnTo>
                  <a:pt x="1982" y="2241"/>
                </a:lnTo>
                <a:lnTo>
                  <a:pt x="2004" y="2232"/>
                </a:lnTo>
                <a:lnTo>
                  <a:pt x="2024" y="2222"/>
                </a:lnTo>
                <a:lnTo>
                  <a:pt x="2034" y="2217"/>
                </a:lnTo>
                <a:lnTo>
                  <a:pt x="2044" y="2211"/>
                </a:lnTo>
                <a:lnTo>
                  <a:pt x="2064" y="2200"/>
                </a:lnTo>
                <a:lnTo>
                  <a:pt x="2084" y="2186"/>
                </a:lnTo>
                <a:lnTo>
                  <a:pt x="2092" y="2180"/>
                </a:lnTo>
                <a:lnTo>
                  <a:pt x="2102" y="2173"/>
                </a:lnTo>
                <a:lnTo>
                  <a:pt x="2121" y="2157"/>
                </a:lnTo>
                <a:lnTo>
                  <a:pt x="2139" y="2139"/>
                </a:lnTo>
                <a:lnTo>
                  <a:pt x="2157" y="2121"/>
                </a:lnTo>
                <a:lnTo>
                  <a:pt x="2173" y="2102"/>
                </a:lnTo>
                <a:lnTo>
                  <a:pt x="2187" y="2084"/>
                </a:lnTo>
                <a:lnTo>
                  <a:pt x="2194" y="2074"/>
                </a:lnTo>
                <a:lnTo>
                  <a:pt x="2200" y="2064"/>
                </a:lnTo>
                <a:lnTo>
                  <a:pt x="2212" y="2044"/>
                </a:lnTo>
                <a:lnTo>
                  <a:pt x="2222" y="2024"/>
                </a:lnTo>
                <a:lnTo>
                  <a:pt x="2232" y="2003"/>
                </a:lnTo>
                <a:lnTo>
                  <a:pt x="2241" y="1982"/>
                </a:lnTo>
                <a:lnTo>
                  <a:pt x="2249" y="1961"/>
                </a:lnTo>
                <a:lnTo>
                  <a:pt x="2256" y="1938"/>
                </a:lnTo>
                <a:lnTo>
                  <a:pt x="2263" y="1914"/>
                </a:lnTo>
                <a:lnTo>
                  <a:pt x="2265" y="1902"/>
                </a:lnTo>
                <a:lnTo>
                  <a:pt x="2268" y="1889"/>
                </a:lnTo>
                <a:lnTo>
                  <a:pt x="2273" y="1862"/>
                </a:lnTo>
                <a:lnTo>
                  <a:pt x="2277" y="1832"/>
                </a:lnTo>
                <a:lnTo>
                  <a:pt x="2280" y="1801"/>
                </a:lnTo>
                <a:lnTo>
                  <a:pt x="2281" y="1768"/>
                </a:lnTo>
                <a:lnTo>
                  <a:pt x="2285" y="1705"/>
                </a:lnTo>
                <a:lnTo>
                  <a:pt x="2286" y="1639"/>
                </a:lnTo>
                <a:lnTo>
                  <a:pt x="2288" y="1548"/>
                </a:lnTo>
                <a:lnTo>
                  <a:pt x="2288" y="1403"/>
                </a:lnTo>
                <a:lnTo>
                  <a:pt x="2288" y="1258"/>
                </a:lnTo>
                <a:lnTo>
                  <a:pt x="2286" y="1206"/>
                </a:lnTo>
                <a:lnTo>
                  <a:pt x="2286" y="1166"/>
                </a:lnTo>
                <a:lnTo>
                  <a:pt x="2285" y="1101"/>
                </a:lnTo>
                <a:lnTo>
                  <a:pt x="2281" y="1038"/>
                </a:lnTo>
                <a:lnTo>
                  <a:pt x="2280" y="1005"/>
                </a:lnTo>
                <a:lnTo>
                  <a:pt x="2277" y="973"/>
                </a:lnTo>
                <a:lnTo>
                  <a:pt x="2273" y="944"/>
                </a:lnTo>
                <a:lnTo>
                  <a:pt x="2268" y="917"/>
                </a:lnTo>
                <a:lnTo>
                  <a:pt x="2263" y="891"/>
                </a:lnTo>
                <a:lnTo>
                  <a:pt x="2259" y="880"/>
                </a:lnTo>
                <a:lnTo>
                  <a:pt x="2256" y="867"/>
                </a:lnTo>
                <a:lnTo>
                  <a:pt x="2249" y="845"/>
                </a:lnTo>
                <a:lnTo>
                  <a:pt x="2241" y="824"/>
                </a:lnTo>
                <a:lnTo>
                  <a:pt x="2232" y="802"/>
                </a:lnTo>
                <a:lnTo>
                  <a:pt x="2222" y="782"/>
                </a:lnTo>
                <a:lnTo>
                  <a:pt x="2217" y="771"/>
                </a:lnTo>
                <a:lnTo>
                  <a:pt x="2212" y="761"/>
                </a:lnTo>
                <a:lnTo>
                  <a:pt x="2200" y="742"/>
                </a:lnTo>
                <a:lnTo>
                  <a:pt x="2187" y="723"/>
                </a:lnTo>
                <a:lnTo>
                  <a:pt x="2180" y="714"/>
                </a:lnTo>
                <a:lnTo>
                  <a:pt x="2173" y="704"/>
                </a:lnTo>
                <a:lnTo>
                  <a:pt x="2165" y="694"/>
                </a:lnTo>
                <a:lnTo>
                  <a:pt x="2157" y="685"/>
                </a:lnTo>
                <a:lnTo>
                  <a:pt x="2139" y="667"/>
                </a:lnTo>
                <a:lnTo>
                  <a:pt x="2121" y="650"/>
                </a:lnTo>
                <a:lnTo>
                  <a:pt x="2102" y="633"/>
                </a:lnTo>
                <a:lnTo>
                  <a:pt x="2084" y="619"/>
                </a:lnTo>
                <a:lnTo>
                  <a:pt x="2074" y="612"/>
                </a:lnTo>
                <a:lnTo>
                  <a:pt x="2064" y="606"/>
                </a:lnTo>
                <a:lnTo>
                  <a:pt x="2044" y="594"/>
                </a:lnTo>
                <a:lnTo>
                  <a:pt x="2024" y="584"/>
                </a:lnTo>
                <a:lnTo>
                  <a:pt x="2004" y="574"/>
                </a:lnTo>
                <a:lnTo>
                  <a:pt x="1982" y="565"/>
                </a:lnTo>
                <a:lnTo>
                  <a:pt x="1961" y="557"/>
                </a:lnTo>
                <a:lnTo>
                  <a:pt x="1939" y="549"/>
                </a:lnTo>
                <a:lnTo>
                  <a:pt x="1914" y="543"/>
                </a:lnTo>
                <a:lnTo>
                  <a:pt x="1902" y="541"/>
                </a:lnTo>
                <a:lnTo>
                  <a:pt x="1889" y="538"/>
                </a:lnTo>
                <a:lnTo>
                  <a:pt x="1862" y="533"/>
                </a:lnTo>
                <a:lnTo>
                  <a:pt x="1834" y="530"/>
                </a:lnTo>
                <a:lnTo>
                  <a:pt x="1801" y="526"/>
                </a:lnTo>
                <a:lnTo>
                  <a:pt x="1768" y="523"/>
                </a:lnTo>
                <a:lnTo>
                  <a:pt x="1705" y="521"/>
                </a:lnTo>
                <a:lnTo>
                  <a:pt x="1641" y="520"/>
                </a:lnTo>
                <a:lnTo>
                  <a:pt x="1548" y="518"/>
                </a:lnTo>
                <a:lnTo>
                  <a:pt x="1403" y="518"/>
                </a:lnTo>
                <a:close/>
                <a:moveTo>
                  <a:pt x="1403" y="949"/>
                </a:moveTo>
                <a:lnTo>
                  <a:pt x="1380" y="949"/>
                </a:lnTo>
                <a:lnTo>
                  <a:pt x="1356" y="951"/>
                </a:lnTo>
                <a:lnTo>
                  <a:pt x="1334" y="954"/>
                </a:lnTo>
                <a:lnTo>
                  <a:pt x="1311" y="958"/>
                </a:lnTo>
                <a:lnTo>
                  <a:pt x="1289" y="963"/>
                </a:lnTo>
                <a:lnTo>
                  <a:pt x="1268" y="969"/>
                </a:lnTo>
                <a:lnTo>
                  <a:pt x="1247" y="976"/>
                </a:lnTo>
                <a:lnTo>
                  <a:pt x="1226" y="985"/>
                </a:lnTo>
                <a:lnTo>
                  <a:pt x="1206" y="994"/>
                </a:lnTo>
                <a:lnTo>
                  <a:pt x="1187" y="1003"/>
                </a:lnTo>
                <a:lnTo>
                  <a:pt x="1168" y="1015"/>
                </a:lnTo>
                <a:lnTo>
                  <a:pt x="1149" y="1027"/>
                </a:lnTo>
                <a:lnTo>
                  <a:pt x="1131" y="1039"/>
                </a:lnTo>
                <a:lnTo>
                  <a:pt x="1115" y="1053"/>
                </a:lnTo>
                <a:lnTo>
                  <a:pt x="1097" y="1067"/>
                </a:lnTo>
                <a:lnTo>
                  <a:pt x="1081" y="1081"/>
                </a:lnTo>
                <a:lnTo>
                  <a:pt x="1067" y="1097"/>
                </a:lnTo>
                <a:lnTo>
                  <a:pt x="1053" y="1114"/>
                </a:lnTo>
                <a:lnTo>
                  <a:pt x="1039" y="1131"/>
                </a:lnTo>
                <a:lnTo>
                  <a:pt x="1027" y="1149"/>
                </a:lnTo>
                <a:lnTo>
                  <a:pt x="1015" y="1168"/>
                </a:lnTo>
                <a:lnTo>
                  <a:pt x="1003" y="1187"/>
                </a:lnTo>
                <a:lnTo>
                  <a:pt x="994" y="1206"/>
                </a:lnTo>
                <a:lnTo>
                  <a:pt x="985" y="1226"/>
                </a:lnTo>
                <a:lnTo>
                  <a:pt x="976" y="1247"/>
                </a:lnTo>
                <a:lnTo>
                  <a:pt x="969" y="1268"/>
                </a:lnTo>
                <a:lnTo>
                  <a:pt x="963" y="1289"/>
                </a:lnTo>
                <a:lnTo>
                  <a:pt x="960" y="1300"/>
                </a:lnTo>
                <a:lnTo>
                  <a:pt x="958" y="1312"/>
                </a:lnTo>
                <a:lnTo>
                  <a:pt x="954" y="1334"/>
                </a:lnTo>
                <a:lnTo>
                  <a:pt x="951" y="1356"/>
                </a:lnTo>
                <a:lnTo>
                  <a:pt x="949" y="1380"/>
                </a:lnTo>
                <a:lnTo>
                  <a:pt x="949" y="1403"/>
                </a:lnTo>
                <a:lnTo>
                  <a:pt x="949" y="1427"/>
                </a:lnTo>
                <a:lnTo>
                  <a:pt x="951" y="1449"/>
                </a:lnTo>
                <a:lnTo>
                  <a:pt x="954" y="1472"/>
                </a:lnTo>
                <a:lnTo>
                  <a:pt x="958" y="1495"/>
                </a:lnTo>
                <a:lnTo>
                  <a:pt x="963" y="1517"/>
                </a:lnTo>
                <a:lnTo>
                  <a:pt x="969" y="1538"/>
                </a:lnTo>
                <a:lnTo>
                  <a:pt x="976" y="1559"/>
                </a:lnTo>
                <a:lnTo>
                  <a:pt x="985" y="1580"/>
                </a:lnTo>
                <a:lnTo>
                  <a:pt x="994" y="1600"/>
                </a:lnTo>
                <a:lnTo>
                  <a:pt x="1003" y="1620"/>
                </a:lnTo>
                <a:lnTo>
                  <a:pt x="1015" y="1638"/>
                </a:lnTo>
                <a:lnTo>
                  <a:pt x="1027" y="1657"/>
                </a:lnTo>
                <a:lnTo>
                  <a:pt x="1039" y="1674"/>
                </a:lnTo>
                <a:lnTo>
                  <a:pt x="1053" y="1691"/>
                </a:lnTo>
                <a:lnTo>
                  <a:pt x="1067" y="1709"/>
                </a:lnTo>
                <a:lnTo>
                  <a:pt x="1081" y="1724"/>
                </a:lnTo>
                <a:lnTo>
                  <a:pt x="1097" y="1740"/>
                </a:lnTo>
                <a:lnTo>
                  <a:pt x="1115" y="1753"/>
                </a:lnTo>
                <a:lnTo>
                  <a:pt x="1131" y="1767"/>
                </a:lnTo>
                <a:lnTo>
                  <a:pt x="1149" y="1779"/>
                </a:lnTo>
                <a:lnTo>
                  <a:pt x="1168" y="1792"/>
                </a:lnTo>
                <a:lnTo>
                  <a:pt x="1187" y="1803"/>
                </a:lnTo>
                <a:lnTo>
                  <a:pt x="1206" y="1813"/>
                </a:lnTo>
                <a:lnTo>
                  <a:pt x="1226" y="1821"/>
                </a:lnTo>
                <a:lnTo>
                  <a:pt x="1247" y="1830"/>
                </a:lnTo>
                <a:lnTo>
                  <a:pt x="1268" y="1836"/>
                </a:lnTo>
                <a:lnTo>
                  <a:pt x="1289" y="1842"/>
                </a:lnTo>
                <a:lnTo>
                  <a:pt x="1300" y="1846"/>
                </a:lnTo>
                <a:lnTo>
                  <a:pt x="1311" y="1847"/>
                </a:lnTo>
                <a:lnTo>
                  <a:pt x="1334" y="1852"/>
                </a:lnTo>
                <a:lnTo>
                  <a:pt x="1356" y="1855"/>
                </a:lnTo>
                <a:lnTo>
                  <a:pt x="1380" y="1856"/>
                </a:lnTo>
                <a:lnTo>
                  <a:pt x="1403" y="1857"/>
                </a:lnTo>
                <a:lnTo>
                  <a:pt x="1427" y="1856"/>
                </a:lnTo>
                <a:lnTo>
                  <a:pt x="1450" y="1855"/>
                </a:lnTo>
                <a:lnTo>
                  <a:pt x="1472" y="1852"/>
                </a:lnTo>
                <a:lnTo>
                  <a:pt x="1495" y="1847"/>
                </a:lnTo>
                <a:lnTo>
                  <a:pt x="1517" y="1842"/>
                </a:lnTo>
                <a:lnTo>
                  <a:pt x="1538" y="1836"/>
                </a:lnTo>
                <a:lnTo>
                  <a:pt x="1559" y="1830"/>
                </a:lnTo>
                <a:lnTo>
                  <a:pt x="1580" y="1821"/>
                </a:lnTo>
                <a:lnTo>
                  <a:pt x="1600" y="1813"/>
                </a:lnTo>
                <a:lnTo>
                  <a:pt x="1620" y="1803"/>
                </a:lnTo>
                <a:lnTo>
                  <a:pt x="1638" y="1792"/>
                </a:lnTo>
                <a:lnTo>
                  <a:pt x="1657" y="1779"/>
                </a:lnTo>
                <a:lnTo>
                  <a:pt x="1675" y="1767"/>
                </a:lnTo>
                <a:lnTo>
                  <a:pt x="1691" y="1753"/>
                </a:lnTo>
                <a:lnTo>
                  <a:pt x="1709" y="1740"/>
                </a:lnTo>
                <a:lnTo>
                  <a:pt x="1725" y="1724"/>
                </a:lnTo>
                <a:lnTo>
                  <a:pt x="1740" y="1709"/>
                </a:lnTo>
                <a:lnTo>
                  <a:pt x="1753" y="1691"/>
                </a:lnTo>
                <a:lnTo>
                  <a:pt x="1767" y="1674"/>
                </a:lnTo>
                <a:lnTo>
                  <a:pt x="1779" y="1657"/>
                </a:lnTo>
                <a:lnTo>
                  <a:pt x="1792" y="1638"/>
                </a:lnTo>
                <a:lnTo>
                  <a:pt x="1803" y="1620"/>
                </a:lnTo>
                <a:lnTo>
                  <a:pt x="1813" y="1600"/>
                </a:lnTo>
                <a:lnTo>
                  <a:pt x="1821" y="1580"/>
                </a:lnTo>
                <a:lnTo>
                  <a:pt x="1830" y="1559"/>
                </a:lnTo>
                <a:lnTo>
                  <a:pt x="1837" y="1538"/>
                </a:lnTo>
                <a:lnTo>
                  <a:pt x="1842" y="1517"/>
                </a:lnTo>
                <a:lnTo>
                  <a:pt x="1846" y="1506"/>
                </a:lnTo>
                <a:lnTo>
                  <a:pt x="1848" y="1495"/>
                </a:lnTo>
                <a:lnTo>
                  <a:pt x="1852" y="1472"/>
                </a:lnTo>
                <a:lnTo>
                  <a:pt x="1855" y="1449"/>
                </a:lnTo>
                <a:lnTo>
                  <a:pt x="1857" y="1427"/>
                </a:lnTo>
                <a:lnTo>
                  <a:pt x="1857" y="1403"/>
                </a:lnTo>
                <a:lnTo>
                  <a:pt x="1857" y="1380"/>
                </a:lnTo>
                <a:lnTo>
                  <a:pt x="1855" y="1356"/>
                </a:lnTo>
                <a:lnTo>
                  <a:pt x="1852" y="1334"/>
                </a:lnTo>
                <a:lnTo>
                  <a:pt x="1848" y="1312"/>
                </a:lnTo>
                <a:lnTo>
                  <a:pt x="1842" y="1289"/>
                </a:lnTo>
                <a:lnTo>
                  <a:pt x="1837" y="1268"/>
                </a:lnTo>
                <a:lnTo>
                  <a:pt x="1830" y="1247"/>
                </a:lnTo>
                <a:lnTo>
                  <a:pt x="1821" y="1226"/>
                </a:lnTo>
                <a:lnTo>
                  <a:pt x="1813" y="1206"/>
                </a:lnTo>
                <a:lnTo>
                  <a:pt x="1803" y="1187"/>
                </a:lnTo>
                <a:lnTo>
                  <a:pt x="1792" y="1168"/>
                </a:lnTo>
                <a:lnTo>
                  <a:pt x="1779" y="1149"/>
                </a:lnTo>
                <a:lnTo>
                  <a:pt x="1767" y="1131"/>
                </a:lnTo>
                <a:lnTo>
                  <a:pt x="1753" y="1114"/>
                </a:lnTo>
                <a:lnTo>
                  <a:pt x="1740" y="1097"/>
                </a:lnTo>
                <a:lnTo>
                  <a:pt x="1725" y="1081"/>
                </a:lnTo>
                <a:lnTo>
                  <a:pt x="1709" y="1067"/>
                </a:lnTo>
                <a:lnTo>
                  <a:pt x="1691" y="1053"/>
                </a:lnTo>
                <a:lnTo>
                  <a:pt x="1675" y="1039"/>
                </a:lnTo>
                <a:lnTo>
                  <a:pt x="1657" y="1027"/>
                </a:lnTo>
                <a:lnTo>
                  <a:pt x="1638" y="1015"/>
                </a:lnTo>
                <a:lnTo>
                  <a:pt x="1620" y="1003"/>
                </a:lnTo>
                <a:lnTo>
                  <a:pt x="1600" y="994"/>
                </a:lnTo>
                <a:lnTo>
                  <a:pt x="1580" y="985"/>
                </a:lnTo>
                <a:lnTo>
                  <a:pt x="1559" y="976"/>
                </a:lnTo>
                <a:lnTo>
                  <a:pt x="1538" y="969"/>
                </a:lnTo>
                <a:lnTo>
                  <a:pt x="1517" y="963"/>
                </a:lnTo>
                <a:lnTo>
                  <a:pt x="1506" y="960"/>
                </a:lnTo>
                <a:lnTo>
                  <a:pt x="1495" y="958"/>
                </a:lnTo>
                <a:lnTo>
                  <a:pt x="1472" y="954"/>
                </a:lnTo>
                <a:lnTo>
                  <a:pt x="1450" y="951"/>
                </a:lnTo>
                <a:lnTo>
                  <a:pt x="1427" y="949"/>
                </a:lnTo>
                <a:lnTo>
                  <a:pt x="1403" y="949"/>
                </a:lnTo>
                <a:close/>
                <a:moveTo>
                  <a:pt x="1403" y="1698"/>
                </a:moveTo>
                <a:lnTo>
                  <a:pt x="1388" y="1698"/>
                </a:lnTo>
                <a:lnTo>
                  <a:pt x="1373" y="1696"/>
                </a:lnTo>
                <a:lnTo>
                  <a:pt x="1359" y="1694"/>
                </a:lnTo>
                <a:lnTo>
                  <a:pt x="1344" y="1691"/>
                </a:lnTo>
                <a:lnTo>
                  <a:pt x="1329" y="1689"/>
                </a:lnTo>
                <a:lnTo>
                  <a:pt x="1315" y="1684"/>
                </a:lnTo>
                <a:lnTo>
                  <a:pt x="1302" y="1680"/>
                </a:lnTo>
                <a:lnTo>
                  <a:pt x="1288" y="1674"/>
                </a:lnTo>
                <a:lnTo>
                  <a:pt x="1276" y="1669"/>
                </a:lnTo>
                <a:lnTo>
                  <a:pt x="1262" y="1662"/>
                </a:lnTo>
                <a:lnTo>
                  <a:pt x="1250" y="1655"/>
                </a:lnTo>
                <a:lnTo>
                  <a:pt x="1238" y="1647"/>
                </a:lnTo>
                <a:lnTo>
                  <a:pt x="1226" y="1639"/>
                </a:lnTo>
                <a:lnTo>
                  <a:pt x="1215" y="1631"/>
                </a:lnTo>
                <a:lnTo>
                  <a:pt x="1205" y="1621"/>
                </a:lnTo>
                <a:lnTo>
                  <a:pt x="1195" y="1611"/>
                </a:lnTo>
                <a:lnTo>
                  <a:pt x="1185" y="1601"/>
                </a:lnTo>
                <a:lnTo>
                  <a:pt x="1175" y="1590"/>
                </a:lnTo>
                <a:lnTo>
                  <a:pt x="1167" y="1579"/>
                </a:lnTo>
                <a:lnTo>
                  <a:pt x="1158" y="1568"/>
                </a:lnTo>
                <a:lnTo>
                  <a:pt x="1151" y="1555"/>
                </a:lnTo>
                <a:lnTo>
                  <a:pt x="1143" y="1543"/>
                </a:lnTo>
                <a:lnTo>
                  <a:pt x="1137" y="1531"/>
                </a:lnTo>
                <a:lnTo>
                  <a:pt x="1131" y="1518"/>
                </a:lnTo>
                <a:lnTo>
                  <a:pt x="1126" y="1505"/>
                </a:lnTo>
                <a:lnTo>
                  <a:pt x="1121" y="1491"/>
                </a:lnTo>
                <a:lnTo>
                  <a:pt x="1117" y="1476"/>
                </a:lnTo>
                <a:lnTo>
                  <a:pt x="1115" y="1462"/>
                </a:lnTo>
                <a:lnTo>
                  <a:pt x="1111" y="1448"/>
                </a:lnTo>
                <a:lnTo>
                  <a:pt x="1110" y="1433"/>
                </a:lnTo>
                <a:lnTo>
                  <a:pt x="1109" y="1418"/>
                </a:lnTo>
                <a:lnTo>
                  <a:pt x="1109" y="1403"/>
                </a:lnTo>
                <a:lnTo>
                  <a:pt x="1109" y="1388"/>
                </a:lnTo>
                <a:lnTo>
                  <a:pt x="1110" y="1373"/>
                </a:lnTo>
                <a:lnTo>
                  <a:pt x="1111" y="1359"/>
                </a:lnTo>
                <a:lnTo>
                  <a:pt x="1115" y="1344"/>
                </a:lnTo>
                <a:lnTo>
                  <a:pt x="1117" y="1329"/>
                </a:lnTo>
                <a:lnTo>
                  <a:pt x="1121" y="1315"/>
                </a:lnTo>
                <a:lnTo>
                  <a:pt x="1126" y="1302"/>
                </a:lnTo>
                <a:lnTo>
                  <a:pt x="1131" y="1288"/>
                </a:lnTo>
                <a:lnTo>
                  <a:pt x="1137" y="1276"/>
                </a:lnTo>
                <a:lnTo>
                  <a:pt x="1143" y="1262"/>
                </a:lnTo>
                <a:lnTo>
                  <a:pt x="1151" y="1250"/>
                </a:lnTo>
                <a:lnTo>
                  <a:pt x="1158" y="1239"/>
                </a:lnTo>
                <a:lnTo>
                  <a:pt x="1167" y="1226"/>
                </a:lnTo>
                <a:lnTo>
                  <a:pt x="1175" y="1215"/>
                </a:lnTo>
                <a:lnTo>
                  <a:pt x="1185" y="1205"/>
                </a:lnTo>
                <a:lnTo>
                  <a:pt x="1195" y="1194"/>
                </a:lnTo>
                <a:lnTo>
                  <a:pt x="1205" y="1185"/>
                </a:lnTo>
                <a:lnTo>
                  <a:pt x="1215" y="1175"/>
                </a:lnTo>
                <a:lnTo>
                  <a:pt x="1226" y="1167"/>
                </a:lnTo>
                <a:lnTo>
                  <a:pt x="1238" y="1158"/>
                </a:lnTo>
                <a:lnTo>
                  <a:pt x="1250" y="1151"/>
                </a:lnTo>
                <a:lnTo>
                  <a:pt x="1262" y="1143"/>
                </a:lnTo>
                <a:lnTo>
                  <a:pt x="1276" y="1137"/>
                </a:lnTo>
                <a:lnTo>
                  <a:pt x="1288" y="1131"/>
                </a:lnTo>
                <a:lnTo>
                  <a:pt x="1302" y="1126"/>
                </a:lnTo>
                <a:lnTo>
                  <a:pt x="1315" y="1121"/>
                </a:lnTo>
                <a:lnTo>
                  <a:pt x="1329" y="1117"/>
                </a:lnTo>
                <a:lnTo>
                  <a:pt x="1344" y="1114"/>
                </a:lnTo>
                <a:lnTo>
                  <a:pt x="1359" y="1111"/>
                </a:lnTo>
                <a:lnTo>
                  <a:pt x="1373" y="1110"/>
                </a:lnTo>
                <a:lnTo>
                  <a:pt x="1388" y="1109"/>
                </a:lnTo>
                <a:lnTo>
                  <a:pt x="1403" y="1109"/>
                </a:lnTo>
                <a:lnTo>
                  <a:pt x="1418" y="1109"/>
                </a:lnTo>
                <a:lnTo>
                  <a:pt x="1433" y="1110"/>
                </a:lnTo>
                <a:lnTo>
                  <a:pt x="1448" y="1111"/>
                </a:lnTo>
                <a:lnTo>
                  <a:pt x="1462" y="1114"/>
                </a:lnTo>
                <a:lnTo>
                  <a:pt x="1477" y="1117"/>
                </a:lnTo>
                <a:lnTo>
                  <a:pt x="1491" y="1121"/>
                </a:lnTo>
                <a:lnTo>
                  <a:pt x="1505" y="1126"/>
                </a:lnTo>
                <a:lnTo>
                  <a:pt x="1518" y="1131"/>
                </a:lnTo>
                <a:lnTo>
                  <a:pt x="1530" y="1137"/>
                </a:lnTo>
                <a:lnTo>
                  <a:pt x="1544" y="1143"/>
                </a:lnTo>
                <a:lnTo>
                  <a:pt x="1556" y="1151"/>
                </a:lnTo>
                <a:lnTo>
                  <a:pt x="1568" y="1158"/>
                </a:lnTo>
                <a:lnTo>
                  <a:pt x="1580" y="1167"/>
                </a:lnTo>
                <a:lnTo>
                  <a:pt x="1591" y="1175"/>
                </a:lnTo>
                <a:lnTo>
                  <a:pt x="1601" y="1185"/>
                </a:lnTo>
                <a:lnTo>
                  <a:pt x="1611" y="1194"/>
                </a:lnTo>
                <a:lnTo>
                  <a:pt x="1621" y="1205"/>
                </a:lnTo>
                <a:lnTo>
                  <a:pt x="1631" y="1215"/>
                </a:lnTo>
                <a:lnTo>
                  <a:pt x="1639" y="1226"/>
                </a:lnTo>
                <a:lnTo>
                  <a:pt x="1648" y="1239"/>
                </a:lnTo>
                <a:lnTo>
                  <a:pt x="1655" y="1250"/>
                </a:lnTo>
                <a:lnTo>
                  <a:pt x="1662" y="1262"/>
                </a:lnTo>
                <a:lnTo>
                  <a:pt x="1669" y="1276"/>
                </a:lnTo>
                <a:lnTo>
                  <a:pt x="1675" y="1288"/>
                </a:lnTo>
                <a:lnTo>
                  <a:pt x="1680" y="1302"/>
                </a:lnTo>
                <a:lnTo>
                  <a:pt x="1685" y="1315"/>
                </a:lnTo>
                <a:lnTo>
                  <a:pt x="1689" y="1329"/>
                </a:lnTo>
                <a:lnTo>
                  <a:pt x="1691" y="1344"/>
                </a:lnTo>
                <a:lnTo>
                  <a:pt x="1694" y="1359"/>
                </a:lnTo>
                <a:lnTo>
                  <a:pt x="1696" y="1373"/>
                </a:lnTo>
                <a:lnTo>
                  <a:pt x="1698" y="1388"/>
                </a:lnTo>
                <a:lnTo>
                  <a:pt x="1698" y="1403"/>
                </a:lnTo>
                <a:lnTo>
                  <a:pt x="1698" y="1418"/>
                </a:lnTo>
                <a:lnTo>
                  <a:pt x="1696" y="1433"/>
                </a:lnTo>
                <a:lnTo>
                  <a:pt x="1694" y="1448"/>
                </a:lnTo>
                <a:lnTo>
                  <a:pt x="1691" y="1462"/>
                </a:lnTo>
                <a:lnTo>
                  <a:pt x="1689" y="1476"/>
                </a:lnTo>
                <a:lnTo>
                  <a:pt x="1685" y="1491"/>
                </a:lnTo>
                <a:lnTo>
                  <a:pt x="1680" y="1505"/>
                </a:lnTo>
                <a:lnTo>
                  <a:pt x="1675" y="1518"/>
                </a:lnTo>
                <a:lnTo>
                  <a:pt x="1669" y="1531"/>
                </a:lnTo>
                <a:lnTo>
                  <a:pt x="1662" y="1543"/>
                </a:lnTo>
                <a:lnTo>
                  <a:pt x="1655" y="1555"/>
                </a:lnTo>
                <a:lnTo>
                  <a:pt x="1648" y="1568"/>
                </a:lnTo>
                <a:lnTo>
                  <a:pt x="1639" y="1579"/>
                </a:lnTo>
                <a:lnTo>
                  <a:pt x="1631" y="1590"/>
                </a:lnTo>
                <a:lnTo>
                  <a:pt x="1621" y="1601"/>
                </a:lnTo>
                <a:lnTo>
                  <a:pt x="1611" y="1611"/>
                </a:lnTo>
                <a:lnTo>
                  <a:pt x="1601" y="1621"/>
                </a:lnTo>
                <a:lnTo>
                  <a:pt x="1591" y="1631"/>
                </a:lnTo>
                <a:lnTo>
                  <a:pt x="1580" y="1639"/>
                </a:lnTo>
                <a:lnTo>
                  <a:pt x="1568" y="1647"/>
                </a:lnTo>
                <a:lnTo>
                  <a:pt x="1556" y="1655"/>
                </a:lnTo>
                <a:lnTo>
                  <a:pt x="1544" y="1662"/>
                </a:lnTo>
                <a:lnTo>
                  <a:pt x="1530" y="1669"/>
                </a:lnTo>
                <a:lnTo>
                  <a:pt x="1518" y="1674"/>
                </a:lnTo>
                <a:lnTo>
                  <a:pt x="1505" y="1680"/>
                </a:lnTo>
                <a:lnTo>
                  <a:pt x="1491" y="1684"/>
                </a:lnTo>
                <a:lnTo>
                  <a:pt x="1477" y="1689"/>
                </a:lnTo>
                <a:lnTo>
                  <a:pt x="1462" y="1691"/>
                </a:lnTo>
                <a:lnTo>
                  <a:pt x="1448" y="1694"/>
                </a:lnTo>
                <a:lnTo>
                  <a:pt x="1433" y="1696"/>
                </a:lnTo>
                <a:lnTo>
                  <a:pt x="1418" y="1698"/>
                </a:lnTo>
                <a:lnTo>
                  <a:pt x="1403" y="1698"/>
                </a:lnTo>
                <a:close/>
                <a:moveTo>
                  <a:pt x="1769" y="930"/>
                </a:moveTo>
                <a:lnTo>
                  <a:pt x="1769" y="921"/>
                </a:lnTo>
                <a:lnTo>
                  <a:pt x="1772" y="909"/>
                </a:lnTo>
                <a:lnTo>
                  <a:pt x="1774" y="900"/>
                </a:lnTo>
                <a:lnTo>
                  <a:pt x="1778" y="890"/>
                </a:lnTo>
                <a:lnTo>
                  <a:pt x="1782" y="880"/>
                </a:lnTo>
                <a:lnTo>
                  <a:pt x="1787" y="871"/>
                </a:lnTo>
                <a:lnTo>
                  <a:pt x="1793" y="864"/>
                </a:lnTo>
                <a:lnTo>
                  <a:pt x="1796" y="860"/>
                </a:lnTo>
                <a:lnTo>
                  <a:pt x="1800" y="856"/>
                </a:lnTo>
                <a:lnTo>
                  <a:pt x="1808" y="849"/>
                </a:lnTo>
                <a:lnTo>
                  <a:pt x="1816" y="843"/>
                </a:lnTo>
                <a:lnTo>
                  <a:pt x="1825" y="838"/>
                </a:lnTo>
                <a:lnTo>
                  <a:pt x="1834" y="833"/>
                </a:lnTo>
                <a:lnTo>
                  <a:pt x="1844" y="829"/>
                </a:lnTo>
                <a:lnTo>
                  <a:pt x="1853" y="827"/>
                </a:lnTo>
                <a:lnTo>
                  <a:pt x="1865" y="825"/>
                </a:lnTo>
                <a:lnTo>
                  <a:pt x="1876" y="825"/>
                </a:lnTo>
                <a:lnTo>
                  <a:pt x="1886" y="825"/>
                </a:lnTo>
                <a:lnTo>
                  <a:pt x="1897" y="827"/>
                </a:lnTo>
                <a:lnTo>
                  <a:pt x="1907" y="829"/>
                </a:lnTo>
                <a:lnTo>
                  <a:pt x="1917" y="833"/>
                </a:lnTo>
                <a:lnTo>
                  <a:pt x="1925" y="838"/>
                </a:lnTo>
                <a:lnTo>
                  <a:pt x="1934" y="843"/>
                </a:lnTo>
                <a:lnTo>
                  <a:pt x="1942" y="849"/>
                </a:lnTo>
                <a:lnTo>
                  <a:pt x="1946" y="852"/>
                </a:lnTo>
                <a:lnTo>
                  <a:pt x="1950" y="856"/>
                </a:lnTo>
                <a:lnTo>
                  <a:pt x="1957" y="864"/>
                </a:lnTo>
                <a:lnTo>
                  <a:pt x="1964" y="871"/>
                </a:lnTo>
                <a:lnTo>
                  <a:pt x="1968" y="880"/>
                </a:lnTo>
                <a:lnTo>
                  <a:pt x="1973" y="890"/>
                </a:lnTo>
                <a:lnTo>
                  <a:pt x="1976" y="900"/>
                </a:lnTo>
                <a:lnTo>
                  <a:pt x="1980" y="909"/>
                </a:lnTo>
                <a:lnTo>
                  <a:pt x="1981" y="921"/>
                </a:lnTo>
                <a:lnTo>
                  <a:pt x="1981" y="930"/>
                </a:lnTo>
                <a:lnTo>
                  <a:pt x="1981" y="942"/>
                </a:lnTo>
                <a:lnTo>
                  <a:pt x="1980" y="953"/>
                </a:lnTo>
                <a:lnTo>
                  <a:pt x="1976" y="963"/>
                </a:lnTo>
                <a:lnTo>
                  <a:pt x="1973" y="973"/>
                </a:lnTo>
                <a:lnTo>
                  <a:pt x="1968" y="981"/>
                </a:lnTo>
                <a:lnTo>
                  <a:pt x="1964" y="990"/>
                </a:lnTo>
                <a:lnTo>
                  <a:pt x="1957" y="998"/>
                </a:lnTo>
                <a:lnTo>
                  <a:pt x="1954" y="1002"/>
                </a:lnTo>
                <a:lnTo>
                  <a:pt x="1950" y="1006"/>
                </a:lnTo>
                <a:lnTo>
                  <a:pt x="1942" y="1013"/>
                </a:lnTo>
                <a:lnTo>
                  <a:pt x="1934" y="1018"/>
                </a:lnTo>
                <a:lnTo>
                  <a:pt x="1925" y="1024"/>
                </a:lnTo>
                <a:lnTo>
                  <a:pt x="1917" y="1028"/>
                </a:lnTo>
                <a:lnTo>
                  <a:pt x="1907" y="1032"/>
                </a:lnTo>
                <a:lnTo>
                  <a:pt x="1897" y="1034"/>
                </a:lnTo>
                <a:lnTo>
                  <a:pt x="1886" y="1037"/>
                </a:lnTo>
                <a:lnTo>
                  <a:pt x="1876" y="1037"/>
                </a:lnTo>
                <a:lnTo>
                  <a:pt x="1865" y="1037"/>
                </a:lnTo>
                <a:lnTo>
                  <a:pt x="1853" y="1034"/>
                </a:lnTo>
                <a:lnTo>
                  <a:pt x="1844" y="1032"/>
                </a:lnTo>
                <a:lnTo>
                  <a:pt x="1834" y="1028"/>
                </a:lnTo>
                <a:lnTo>
                  <a:pt x="1825" y="1024"/>
                </a:lnTo>
                <a:lnTo>
                  <a:pt x="1816" y="1018"/>
                </a:lnTo>
                <a:lnTo>
                  <a:pt x="1808" y="1013"/>
                </a:lnTo>
                <a:lnTo>
                  <a:pt x="1804" y="1010"/>
                </a:lnTo>
                <a:lnTo>
                  <a:pt x="1800" y="1006"/>
                </a:lnTo>
                <a:lnTo>
                  <a:pt x="1793" y="998"/>
                </a:lnTo>
                <a:lnTo>
                  <a:pt x="1787" y="990"/>
                </a:lnTo>
                <a:lnTo>
                  <a:pt x="1782" y="981"/>
                </a:lnTo>
                <a:lnTo>
                  <a:pt x="1778" y="973"/>
                </a:lnTo>
                <a:lnTo>
                  <a:pt x="1774" y="963"/>
                </a:lnTo>
                <a:lnTo>
                  <a:pt x="1772" y="953"/>
                </a:lnTo>
                <a:lnTo>
                  <a:pt x="1769" y="942"/>
                </a:lnTo>
                <a:lnTo>
                  <a:pt x="1769" y="930"/>
                </a:lnTo>
                <a:close/>
                <a:moveTo>
                  <a:pt x="0" y="0"/>
                </a:moveTo>
                <a:lnTo>
                  <a:pt x="702" y="0"/>
                </a:lnTo>
                <a:lnTo>
                  <a:pt x="1403" y="0"/>
                </a:lnTo>
                <a:lnTo>
                  <a:pt x="2105" y="0"/>
                </a:lnTo>
                <a:lnTo>
                  <a:pt x="2806" y="0"/>
                </a:lnTo>
                <a:lnTo>
                  <a:pt x="2806" y="702"/>
                </a:lnTo>
                <a:lnTo>
                  <a:pt x="2806" y="1403"/>
                </a:lnTo>
                <a:lnTo>
                  <a:pt x="2806" y="2105"/>
                </a:lnTo>
                <a:lnTo>
                  <a:pt x="2806" y="2806"/>
                </a:lnTo>
                <a:lnTo>
                  <a:pt x="2105" y="2806"/>
                </a:lnTo>
                <a:lnTo>
                  <a:pt x="1403" y="2806"/>
                </a:lnTo>
                <a:lnTo>
                  <a:pt x="702" y="2806"/>
                </a:lnTo>
                <a:lnTo>
                  <a:pt x="0" y="2806"/>
                </a:lnTo>
                <a:lnTo>
                  <a:pt x="0" y="2105"/>
                </a:lnTo>
                <a:lnTo>
                  <a:pt x="0" y="1403"/>
                </a:lnTo>
                <a:lnTo>
                  <a:pt x="0" y="702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0201" tIns="40100" rIns="80201" bIns="40100" numCol="1" anchor="t" anchorCtr="0" compatLnSpc="1">
            <a:prstTxWarp prst="textNoShape">
              <a:avLst/>
            </a:prstTxWarp>
          </a:bodyPr>
          <a:lstStyle/>
          <a:p>
            <a:endParaRPr lang="en-GB" sz="1579"/>
          </a:p>
        </p:txBody>
      </p:sp>
      <p:sp>
        <p:nvSpPr>
          <p:cNvPr id="11" name="Freeform 12">
            <a:hlinkClick r:id="rId6" tooltip="LinkedIn"/>
          </p:cNvPr>
          <p:cNvSpPr>
            <a:spLocks noChangeAspect="1" noEditPoints="1"/>
          </p:cNvSpPr>
          <p:nvPr/>
        </p:nvSpPr>
        <p:spPr bwMode="auto">
          <a:xfrm>
            <a:off x="5220414" y="684481"/>
            <a:ext cx="252600" cy="317600"/>
          </a:xfrm>
          <a:custGeom>
            <a:avLst/>
            <a:gdLst>
              <a:gd name="T0" fmla="*/ 962 w 2804"/>
              <a:gd name="T1" fmla="*/ 2198 h 2806"/>
              <a:gd name="T2" fmla="*/ 798 w 2804"/>
              <a:gd name="T3" fmla="*/ 609 h 2806"/>
              <a:gd name="T4" fmla="*/ 845 w 2804"/>
              <a:gd name="T5" fmla="*/ 615 h 2806"/>
              <a:gd name="T6" fmla="*/ 904 w 2804"/>
              <a:gd name="T7" fmla="*/ 641 h 2806"/>
              <a:gd name="T8" fmla="*/ 950 w 2804"/>
              <a:gd name="T9" fmla="*/ 685 h 2806"/>
              <a:gd name="T10" fmla="*/ 973 w 2804"/>
              <a:gd name="T11" fmla="*/ 725 h 2806"/>
              <a:gd name="T12" fmla="*/ 984 w 2804"/>
              <a:gd name="T13" fmla="*/ 761 h 2806"/>
              <a:gd name="T14" fmla="*/ 986 w 2804"/>
              <a:gd name="T15" fmla="*/ 829 h 2806"/>
              <a:gd name="T16" fmla="*/ 973 w 2804"/>
              <a:gd name="T17" fmla="*/ 875 h 2806"/>
              <a:gd name="T18" fmla="*/ 933 w 2804"/>
              <a:gd name="T19" fmla="*/ 935 h 2806"/>
              <a:gd name="T20" fmla="*/ 888 w 2804"/>
              <a:gd name="T21" fmla="*/ 969 h 2806"/>
              <a:gd name="T22" fmla="*/ 855 w 2804"/>
              <a:gd name="T23" fmla="*/ 982 h 2806"/>
              <a:gd name="T24" fmla="*/ 798 w 2804"/>
              <a:gd name="T25" fmla="*/ 991 h 2806"/>
              <a:gd name="T26" fmla="*/ 749 w 2804"/>
              <a:gd name="T27" fmla="*/ 985 h 2806"/>
              <a:gd name="T28" fmla="*/ 690 w 2804"/>
              <a:gd name="T29" fmla="*/ 959 h 2806"/>
              <a:gd name="T30" fmla="*/ 644 w 2804"/>
              <a:gd name="T31" fmla="*/ 914 h 2806"/>
              <a:gd name="T32" fmla="*/ 621 w 2804"/>
              <a:gd name="T33" fmla="*/ 875 h 2806"/>
              <a:gd name="T34" fmla="*/ 610 w 2804"/>
              <a:gd name="T35" fmla="*/ 839 h 2806"/>
              <a:gd name="T36" fmla="*/ 608 w 2804"/>
              <a:gd name="T37" fmla="*/ 771 h 2806"/>
              <a:gd name="T38" fmla="*/ 621 w 2804"/>
              <a:gd name="T39" fmla="*/ 725 h 2806"/>
              <a:gd name="T40" fmla="*/ 662 w 2804"/>
              <a:gd name="T41" fmla="*/ 664 h 2806"/>
              <a:gd name="T42" fmla="*/ 706 w 2804"/>
              <a:gd name="T43" fmla="*/ 632 h 2806"/>
              <a:gd name="T44" fmla="*/ 749 w 2804"/>
              <a:gd name="T45" fmla="*/ 615 h 2806"/>
              <a:gd name="T46" fmla="*/ 798 w 2804"/>
              <a:gd name="T47" fmla="*/ 609 h 2806"/>
              <a:gd name="T48" fmla="*/ 1491 w 2804"/>
              <a:gd name="T49" fmla="*/ 1282 h 2806"/>
              <a:gd name="T50" fmla="*/ 1521 w 2804"/>
              <a:gd name="T51" fmla="*/ 1235 h 2806"/>
              <a:gd name="T52" fmla="*/ 1583 w 2804"/>
              <a:gd name="T53" fmla="*/ 1176 h 2806"/>
              <a:gd name="T54" fmla="*/ 1656 w 2804"/>
              <a:gd name="T55" fmla="*/ 1137 h 2806"/>
              <a:gd name="T56" fmla="*/ 1718 w 2804"/>
              <a:gd name="T57" fmla="*/ 1118 h 2806"/>
              <a:gd name="T58" fmla="*/ 1773 w 2804"/>
              <a:gd name="T59" fmla="*/ 1111 h 2806"/>
              <a:gd name="T60" fmla="*/ 1862 w 2804"/>
              <a:gd name="T61" fmla="*/ 1112 h 2806"/>
              <a:gd name="T62" fmla="*/ 1940 w 2804"/>
              <a:gd name="T63" fmla="*/ 1126 h 2806"/>
              <a:gd name="T64" fmla="*/ 2024 w 2804"/>
              <a:gd name="T65" fmla="*/ 1159 h 2806"/>
              <a:gd name="T66" fmla="*/ 2067 w 2804"/>
              <a:gd name="T67" fmla="*/ 1188 h 2806"/>
              <a:gd name="T68" fmla="*/ 2096 w 2804"/>
              <a:gd name="T69" fmla="*/ 1216 h 2806"/>
              <a:gd name="T70" fmla="*/ 2120 w 2804"/>
              <a:gd name="T71" fmla="*/ 1247 h 2806"/>
              <a:gd name="T72" fmla="*/ 2140 w 2804"/>
              <a:gd name="T73" fmla="*/ 1282 h 2806"/>
              <a:gd name="T74" fmla="*/ 2161 w 2804"/>
              <a:gd name="T75" fmla="*/ 1330 h 2806"/>
              <a:gd name="T76" fmla="*/ 2183 w 2804"/>
              <a:gd name="T77" fmla="*/ 1417 h 2806"/>
              <a:gd name="T78" fmla="*/ 2193 w 2804"/>
              <a:gd name="T79" fmla="*/ 1487 h 2806"/>
              <a:gd name="T80" fmla="*/ 2198 w 2804"/>
              <a:gd name="T81" fmla="*/ 1588 h 2806"/>
              <a:gd name="T82" fmla="*/ 1868 w 2804"/>
              <a:gd name="T83" fmla="*/ 1681 h 2806"/>
              <a:gd name="T84" fmla="*/ 1864 w 2804"/>
              <a:gd name="T85" fmla="*/ 1574 h 2806"/>
              <a:gd name="T86" fmla="*/ 1853 w 2804"/>
              <a:gd name="T87" fmla="*/ 1515 h 2806"/>
              <a:gd name="T88" fmla="*/ 1837 w 2804"/>
              <a:gd name="T89" fmla="*/ 1475 h 2806"/>
              <a:gd name="T90" fmla="*/ 1811 w 2804"/>
              <a:gd name="T91" fmla="*/ 1441 h 2806"/>
              <a:gd name="T92" fmla="*/ 1785 w 2804"/>
              <a:gd name="T93" fmla="*/ 1421 h 2806"/>
              <a:gd name="T94" fmla="*/ 1753 w 2804"/>
              <a:gd name="T95" fmla="*/ 1407 h 2806"/>
              <a:gd name="T96" fmla="*/ 1697 w 2804"/>
              <a:gd name="T97" fmla="*/ 1400 h 2806"/>
              <a:gd name="T98" fmla="*/ 1639 w 2804"/>
              <a:gd name="T99" fmla="*/ 1407 h 2806"/>
              <a:gd name="T100" fmla="*/ 1593 w 2804"/>
              <a:gd name="T101" fmla="*/ 1423 h 2806"/>
              <a:gd name="T102" fmla="*/ 1566 w 2804"/>
              <a:gd name="T103" fmla="*/ 1442 h 2806"/>
              <a:gd name="T104" fmla="*/ 1539 w 2804"/>
              <a:gd name="T105" fmla="*/ 1475 h 2806"/>
              <a:gd name="T106" fmla="*/ 1520 w 2804"/>
              <a:gd name="T107" fmla="*/ 1515 h 2806"/>
              <a:gd name="T108" fmla="*/ 1508 w 2804"/>
              <a:gd name="T109" fmla="*/ 1560 h 2806"/>
              <a:gd name="T110" fmla="*/ 1500 w 2804"/>
              <a:gd name="T111" fmla="*/ 1622 h 2806"/>
              <a:gd name="T112" fmla="*/ 1169 w 2804"/>
              <a:gd name="T113" fmla="*/ 2198 h 2806"/>
              <a:gd name="T114" fmla="*/ 700 w 2804"/>
              <a:gd name="T115" fmla="*/ 0 h 2806"/>
              <a:gd name="T116" fmla="*/ 2804 w 2804"/>
              <a:gd name="T117" fmla="*/ 701 h 2806"/>
              <a:gd name="T118" fmla="*/ 2103 w 2804"/>
              <a:gd name="T119" fmla="*/ 2806 h 2806"/>
              <a:gd name="T120" fmla="*/ 0 w 2804"/>
              <a:gd name="T121" fmla="*/ 2104 h 28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04" h="2806">
                <a:moveTo>
                  <a:pt x="632" y="1136"/>
                </a:moveTo>
                <a:lnTo>
                  <a:pt x="962" y="1136"/>
                </a:lnTo>
                <a:lnTo>
                  <a:pt x="962" y="1666"/>
                </a:lnTo>
                <a:lnTo>
                  <a:pt x="962" y="2198"/>
                </a:lnTo>
                <a:lnTo>
                  <a:pt x="632" y="2198"/>
                </a:lnTo>
                <a:lnTo>
                  <a:pt x="632" y="1666"/>
                </a:lnTo>
                <a:lnTo>
                  <a:pt x="632" y="1136"/>
                </a:lnTo>
                <a:close/>
                <a:moveTo>
                  <a:pt x="798" y="609"/>
                </a:moveTo>
                <a:lnTo>
                  <a:pt x="816" y="610"/>
                </a:lnTo>
                <a:lnTo>
                  <a:pt x="826" y="611"/>
                </a:lnTo>
                <a:lnTo>
                  <a:pt x="836" y="612"/>
                </a:lnTo>
                <a:lnTo>
                  <a:pt x="845" y="615"/>
                </a:lnTo>
                <a:lnTo>
                  <a:pt x="855" y="617"/>
                </a:lnTo>
                <a:lnTo>
                  <a:pt x="872" y="623"/>
                </a:lnTo>
                <a:lnTo>
                  <a:pt x="888" y="632"/>
                </a:lnTo>
                <a:lnTo>
                  <a:pt x="904" y="641"/>
                </a:lnTo>
                <a:lnTo>
                  <a:pt x="919" y="652"/>
                </a:lnTo>
                <a:lnTo>
                  <a:pt x="933" y="664"/>
                </a:lnTo>
                <a:lnTo>
                  <a:pt x="945" y="678"/>
                </a:lnTo>
                <a:lnTo>
                  <a:pt x="950" y="685"/>
                </a:lnTo>
                <a:lnTo>
                  <a:pt x="956" y="693"/>
                </a:lnTo>
                <a:lnTo>
                  <a:pt x="965" y="709"/>
                </a:lnTo>
                <a:lnTo>
                  <a:pt x="970" y="717"/>
                </a:lnTo>
                <a:lnTo>
                  <a:pt x="973" y="725"/>
                </a:lnTo>
                <a:lnTo>
                  <a:pt x="977" y="734"/>
                </a:lnTo>
                <a:lnTo>
                  <a:pt x="980" y="743"/>
                </a:lnTo>
                <a:lnTo>
                  <a:pt x="982" y="752"/>
                </a:lnTo>
                <a:lnTo>
                  <a:pt x="984" y="761"/>
                </a:lnTo>
                <a:lnTo>
                  <a:pt x="987" y="781"/>
                </a:lnTo>
                <a:lnTo>
                  <a:pt x="988" y="800"/>
                </a:lnTo>
                <a:lnTo>
                  <a:pt x="987" y="819"/>
                </a:lnTo>
                <a:lnTo>
                  <a:pt x="986" y="829"/>
                </a:lnTo>
                <a:lnTo>
                  <a:pt x="984" y="839"/>
                </a:lnTo>
                <a:lnTo>
                  <a:pt x="982" y="847"/>
                </a:lnTo>
                <a:lnTo>
                  <a:pt x="980" y="857"/>
                </a:lnTo>
                <a:lnTo>
                  <a:pt x="973" y="875"/>
                </a:lnTo>
                <a:lnTo>
                  <a:pt x="965" y="891"/>
                </a:lnTo>
                <a:lnTo>
                  <a:pt x="956" y="907"/>
                </a:lnTo>
                <a:lnTo>
                  <a:pt x="945" y="922"/>
                </a:lnTo>
                <a:lnTo>
                  <a:pt x="933" y="935"/>
                </a:lnTo>
                <a:lnTo>
                  <a:pt x="919" y="948"/>
                </a:lnTo>
                <a:lnTo>
                  <a:pt x="911" y="954"/>
                </a:lnTo>
                <a:lnTo>
                  <a:pt x="904" y="959"/>
                </a:lnTo>
                <a:lnTo>
                  <a:pt x="888" y="969"/>
                </a:lnTo>
                <a:lnTo>
                  <a:pt x="881" y="972"/>
                </a:lnTo>
                <a:lnTo>
                  <a:pt x="872" y="976"/>
                </a:lnTo>
                <a:lnTo>
                  <a:pt x="863" y="980"/>
                </a:lnTo>
                <a:lnTo>
                  <a:pt x="855" y="982"/>
                </a:lnTo>
                <a:lnTo>
                  <a:pt x="845" y="985"/>
                </a:lnTo>
                <a:lnTo>
                  <a:pt x="836" y="987"/>
                </a:lnTo>
                <a:lnTo>
                  <a:pt x="816" y="990"/>
                </a:lnTo>
                <a:lnTo>
                  <a:pt x="798" y="991"/>
                </a:lnTo>
                <a:lnTo>
                  <a:pt x="788" y="991"/>
                </a:lnTo>
                <a:lnTo>
                  <a:pt x="778" y="990"/>
                </a:lnTo>
                <a:lnTo>
                  <a:pt x="758" y="987"/>
                </a:lnTo>
                <a:lnTo>
                  <a:pt x="749" y="985"/>
                </a:lnTo>
                <a:lnTo>
                  <a:pt x="740" y="982"/>
                </a:lnTo>
                <a:lnTo>
                  <a:pt x="722" y="976"/>
                </a:lnTo>
                <a:lnTo>
                  <a:pt x="706" y="969"/>
                </a:lnTo>
                <a:lnTo>
                  <a:pt x="690" y="959"/>
                </a:lnTo>
                <a:lnTo>
                  <a:pt x="675" y="948"/>
                </a:lnTo>
                <a:lnTo>
                  <a:pt x="662" y="935"/>
                </a:lnTo>
                <a:lnTo>
                  <a:pt x="649" y="922"/>
                </a:lnTo>
                <a:lnTo>
                  <a:pt x="644" y="914"/>
                </a:lnTo>
                <a:lnTo>
                  <a:pt x="638" y="907"/>
                </a:lnTo>
                <a:lnTo>
                  <a:pt x="628" y="891"/>
                </a:lnTo>
                <a:lnTo>
                  <a:pt x="624" y="883"/>
                </a:lnTo>
                <a:lnTo>
                  <a:pt x="621" y="875"/>
                </a:lnTo>
                <a:lnTo>
                  <a:pt x="617" y="866"/>
                </a:lnTo>
                <a:lnTo>
                  <a:pt x="615" y="857"/>
                </a:lnTo>
                <a:lnTo>
                  <a:pt x="612" y="847"/>
                </a:lnTo>
                <a:lnTo>
                  <a:pt x="610" y="839"/>
                </a:lnTo>
                <a:lnTo>
                  <a:pt x="607" y="819"/>
                </a:lnTo>
                <a:lnTo>
                  <a:pt x="606" y="800"/>
                </a:lnTo>
                <a:lnTo>
                  <a:pt x="607" y="781"/>
                </a:lnTo>
                <a:lnTo>
                  <a:pt x="608" y="771"/>
                </a:lnTo>
                <a:lnTo>
                  <a:pt x="610" y="761"/>
                </a:lnTo>
                <a:lnTo>
                  <a:pt x="612" y="752"/>
                </a:lnTo>
                <a:lnTo>
                  <a:pt x="615" y="743"/>
                </a:lnTo>
                <a:lnTo>
                  <a:pt x="621" y="725"/>
                </a:lnTo>
                <a:lnTo>
                  <a:pt x="628" y="709"/>
                </a:lnTo>
                <a:lnTo>
                  <a:pt x="638" y="693"/>
                </a:lnTo>
                <a:lnTo>
                  <a:pt x="649" y="678"/>
                </a:lnTo>
                <a:lnTo>
                  <a:pt x="662" y="664"/>
                </a:lnTo>
                <a:lnTo>
                  <a:pt x="675" y="652"/>
                </a:lnTo>
                <a:lnTo>
                  <a:pt x="683" y="647"/>
                </a:lnTo>
                <a:lnTo>
                  <a:pt x="690" y="641"/>
                </a:lnTo>
                <a:lnTo>
                  <a:pt x="706" y="632"/>
                </a:lnTo>
                <a:lnTo>
                  <a:pt x="714" y="627"/>
                </a:lnTo>
                <a:lnTo>
                  <a:pt x="722" y="623"/>
                </a:lnTo>
                <a:lnTo>
                  <a:pt x="740" y="617"/>
                </a:lnTo>
                <a:lnTo>
                  <a:pt x="749" y="615"/>
                </a:lnTo>
                <a:lnTo>
                  <a:pt x="758" y="612"/>
                </a:lnTo>
                <a:lnTo>
                  <a:pt x="768" y="611"/>
                </a:lnTo>
                <a:lnTo>
                  <a:pt x="778" y="610"/>
                </a:lnTo>
                <a:lnTo>
                  <a:pt x="798" y="609"/>
                </a:lnTo>
                <a:close/>
                <a:moveTo>
                  <a:pt x="1169" y="1136"/>
                </a:moveTo>
                <a:lnTo>
                  <a:pt x="1486" y="1136"/>
                </a:lnTo>
                <a:lnTo>
                  <a:pt x="1486" y="1282"/>
                </a:lnTo>
                <a:lnTo>
                  <a:pt x="1491" y="1282"/>
                </a:lnTo>
                <a:lnTo>
                  <a:pt x="1499" y="1266"/>
                </a:lnTo>
                <a:lnTo>
                  <a:pt x="1509" y="1249"/>
                </a:lnTo>
                <a:lnTo>
                  <a:pt x="1515" y="1242"/>
                </a:lnTo>
                <a:lnTo>
                  <a:pt x="1521" y="1235"/>
                </a:lnTo>
                <a:lnTo>
                  <a:pt x="1535" y="1220"/>
                </a:lnTo>
                <a:lnTo>
                  <a:pt x="1550" y="1205"/>
                </a:lnTo>
                <a:lnTo>
                  <a:pt x="1566" y="1190"/>
                </a:lnTo>
                <a:lnTo>
                  <a:pt x="1583" y="1176"/>
                </a:lnTo>
                <a:lnTo>
                  <a:pt x="1602" y="1164"/>
                </a:lnTo>
                <a:lnTo>
                  <a:pt x="1623" y="1153"/>
                </a:lnTo>
                <a:lnTo>
                  <a:pt x="1644" y="1142"/>
                </a:lnTo>
                <a:lnTo>
                  <a:pt x="1656" y="1137"/>
                </a:lnTo>
                <a:lnTo>
                  <a:pt x="1667" y="1133"/>
                </a:lnTo>
                <a:lnTo>
                  <a:pt x="1692" y="1125"/>
                </a:lnTo>
                <a:lnTo>
                  <a:pt x="1705" y="1122"/>
                </a:lnTo>
                <a:lnTo>
                  <a:pt x="1718" y="1118"/>
                </a:lnTo>
                <a:lnTo>
                  <a:pt x="1731" y="1116"/>
                </a:lnTo>
                <a:lnTo>
                  <a:pt x="1744" y="1113"/>
                </a:lnTo>
                <a:lnTo>
                  <a:pt x="1759" y="1112"/>
                </a:lnTo>
                <a:lnTo>
                  <a:pt x="1773" y="1111"/>
                </a:lnTo>
                <a:lnTo>
                  <a:pt x="1802" y="1110"/>
                </a:lnTo>
                <a:lnTo>
                  <a:pt x="1833" y="1111"/>
                </a:lnTo>
                <a:lnTo>
                  <a:pt x="1848" y="1111"/>
                </a:lnTo>
                <a:lnTo>
                  <a:pt x="1862" y="1112"/>
                </a:lnTo>
                <a:lnTo>
                  <a:pt x="1889" y="1116"/>
                </a:lnTo>
                <a:lnTo>
                  <a:pt x="1915" y="1120"/>
                </a:lnTo>
                <a:lnTo>
                  <a:pt x="1927" y="1122"/>
                </a:lnTo>
                <a:lnTo>
                  <a:pt x="1940" y="1126"/>
                </a:lnTo>
                <a:lnTo>
                  <a:pt x="1963" y="1132"/>
                </a:lnTo>
                <a:lnTo>
                  <a:pt x="1984" y="1139"/>
                </a:lnTo>
                <a:lnTo>
                  <a:pt x="2005" y="1149"/>
                </a:lnTo>
                <a:lnTo>
                  <a:pt x="2024" y="1159"/>
                </a:lnTo>
                <a:lnTo>
                  <a:pt x="2042" y="1169"/>
                </a:lnTo>
                <a:lnTo>
                  <a:pt x="2051" y="1175"/>
                </a:lnTo>
                <a:lnTo>
                  <a:pt x="2058" y="1181"/>
                </a:lnTo>
                <a:lnTo>
                  <a:pt x="2067" y="1188"/>
                </a:lnTo>
                <a:lnTo>
                  <a:pt x="2075" y="1195"/>
                </a:lnTo>
                <a:lnTo>
                  <a:pt x="2082" y="1201"/>
                </a:lnTo>
                <a:lnTo>
                  <a:pt x="2088" y="1209"/>
                </a:lnTo>
                <a:lnTo>
                  <a:pt x="2096" y="1216"/>
                </a:lnTo>
                <a:lnTo>
                  <a:pt x="2102" y="1223"/>
                </a:lnTo>
                <a:lnTo>
                  <a:pt x="2108" y="1231"/>
                </a:lnTo>
                <a:lnTo>
                  <a:pt x="2114" y="1240"/>
                </a:lnTo>
                <a:lnTo>
                  <a:pt x="2120" y="1247"/>
                </a:lnTo>
                <a:lnTo>
                  <a:pt x="2125" y="1256"/>
                </a:lnTo>
                <a:lnTo>
                  <a:pt x="2130" y="1264"/>
                </a:lnTo>
                <a:lnTo>
                  <a:pt x="2135" y="1273"/>
                </a:lnTo>
                <a:lnTo>
                  <a:pt x="2140" y="1282"/>
                </a:lnTo>
                <a:lnTo>
                  <a:pt x="2145" y="1292"/>
                </a:lnTo>
                <a:lnTo>
                  <a:pt x="2154" y="1310"/>
                </a:lnTo>
                <a:lnTo>
                  <a:pt x="2157" y="1320"/>
                </a:lnTo>
                <a:lnTo>
                  <a:pt x="2161" y="1330"/>
                </a:lnTo>
                <a:lnTo>
                  <a:pt x="2167" y="1351"/>
                </a:lnTo>
                <a:lnTo>
                  <a:pt x="2173" y="1372"/>
                </a:lnTo>
                <a:lnTo>
                  <a:pt x="2178" y="1393"/>
                </a:lnTo>
                <a:lnTo>
                  <a:pt x="2183" y="1417"/>
                </a:lnTo>
                <a:lnTo>
                  <a:pt x="2185" y="1428"/>
                </a:lnTo>
                <a:lnTo>
                  <a:pt x="2187" y="1439"/>
                </a:lnTo>
                <a:lnTo>
                  <a:pt x="2190" y="1462"/>
                </a:lnTo>
                <a:lnTo>
                  <a:pt x="2193" y="1487"/>
                </a:lnTo>
                <a:lnTo>
                  <a:pt x="2195" y="1512"/>
                </a:lnTo>
                <a:lnTo>
                  <a:pt x="2196" y="1538"/>
                </a:lnTo>
                <a:lnTo>
                  <a:pt x="2197" y="1563"/>
                </a:lnTo>
                <a:lnTo>
                  <a:pt x="2198" y="1588"/>
                </a:lnTo>
                <a:lnTo>
                  <a:pt x="2198" y="1616"/>
                </a:lnTo>
                <a:lnTo>
                  <a:pt x="2198" y="2198"/>
                </a:lnTo>
                <a:lnTo>
                  <a:pt x="1868" y="2198"/>
                </a:lnTo>
                <a:lnTo>
                  <a:pt x="1868" y="1681"/>
                </a:lnTo>
                <a:lnTo>
                  <a:pt x="1868" y="1634"/>
                </a:lnTo>
                <a:lnTo>
                  <a:pt x="1867" y="1610"/>
                </a:lnTo>
                <a:lnTo>
                  <a:pt x="1865" y="1586"/>
                </a:lnTo>
                <a:lnTo>
                  <a:pt x="1864" y="1574"/>
                </a:lnTo>
                <a:lnTo>
                  <a:pt x="1863" y="1561"/>
                </a:lnTo>
                <a:lnTo>
                  <a:pt x="1858" y="1539"/>
                </a:lnTo>
                <a:lnTo>
                  <a:pt x="1856" y="1527"/>
                </a:lnTo>
                <a:lnTo>
                  <a:pt x="1853" y="1515"/>
                </a:lnTo>
                <a:lnTo>
                  <a:pt x="1849" y="1506"/>
                </a:lnTo>
                <a:lnTo>
                  <a:pt x="1846" y="1494"/>
                </a:lnTo>
                <a:lnTo>
                  <a:pt x="1842" y="1485"/>
                </a:lnTo>
                <a:lnTo>
                  <a:pt x="1837" y="1475"/>
                </a:lnTo>
                <a:lnTo>
                  <a:pt x="1831" y="1466"/>
                </a:lnTo>
                <a:lnTo>
                  <a:pt x="1826" y="1457"/>
                </a:lnTo>
                <a:lnTo>
                  <a:pt x="1818" y="1449"/>
                </a:lnTo>
                <a:lnTo>
                  <a:pt x="1811" y="1441"/>
                </a:lnTo>
                <a:lnTo>
                  <a:pt x="1804" y="1434"/>
                </a:lnTo>
                <a:lnTo>
                  <a:pt x="1800" y="1430"/>
                </a:lnTo>
                <a:lnTo>
                  <a:pt x="1795" y="1426"/>
                </a:lnTo>
                <a:lnTo>
                  <a:pt x="1785" y="1421"/>
                </a:lnTo>
                <a:lnTo>
                  <a:pt x="1775" y="1415"/>
                </a:lnTo>
                <a:lnTo>
                  <a:pt x="1764" y="1412"/>
                </a:lnTo>
                <a:lnTo>
                  <a:pt x="1759" y="1409"/>
                </a:lnTo>
                <a:lnTo>
                  <a:pt x="1753" y="1407"/>
                </a:lnTo>
                <a:lnTo>
                  <a:pt x="1740" y="1404"/>
                </a:lnTo>
                <a:lnTo>
                  <a:pt x="1727" y="1402"/>
                </a:lnTo>
                <a:lnTo>
                  <a:pt x="1712" y="1400"/>
                </a:lnTo>
                <a:lnTo>
                  <a:pt x="1697" y="1400"/>
                </a:lnTo>
                <a:lnTo>
                  <a:pt x="1681" y="1400"/>
                </a:lnTo>
                <a:lnTo>
                  <a:pt x="1666" y="1402"/>
                </a:lnTo>
                <a:lnTo>
                  <a:pt x="1653" y="1404"/>
                </a:lnTo>
                <a:lnTo>
                  <a:pt x="1639" y="1407"/>
                </a:lnTo>
                <a:lnTo>
                  <a:pt x="1627" y="1409"/>
                </a:lnTo>
                <a:lnTo>
                  <a:pt x="1614" y="1414"/>
                </a:lnTo>
                <a:lnTo>
                  <a:pt x="1603" y="1418"/>
                </a:lnTo>
                <a:lnTo>
                  <a:pt x="1593" y="1423"/>
                </a:lnTo>
                <a:lnTo>
                  <a:pt x="1583" y="1429"/>
                </a:lnTo>
                <a:lnTo>
                  <a:pt x="1580" y="1433"/>
                </a:lnTo>
                <a:lnTo>
                  <a:pt x="1575" y="1435"/>
                </a:lnTo>
                <a:lnTo>
                  <a:pt x="1566" y="1442"/>
                </a:lnTo>
                <a:lnTo>
                  <a:pt x="1559" y="1450"/>
                </a:lnTo>
                <a:lnTo>
                  <a:pt x="1551" y="1457"/>
                </a:lnTo>
                <a:lnTo>
                  <a:pt x="1545" y="1466"/>
                </a:lnTo>
                <a:lnTo>
                  <a:pt x="1539" y="1475"/>
                </a:lnTo>
                <a:lnTo>
                  <a:pt x="1534" y="1485"/>
                </a:lnTo>
                <a:lnTo>
                  <a:pt x="1529" y="1494"/>
                </a:lnTo>
                <a:lnTo>
                  <a:pt x="1524" y="1504"/>
                </a:lnTo>
                <a:lnTo>
                  <a:pt x="1520" y="1515"/>
                </a:lnTo>
                <a:lnTo>
                  <a:pt x="1517" y="1525"/>
                </a:lnTo>
                <a:lnTo>
                  <a:pt x="1513" y="1537"/>
                </a:lnTo>
                <a:lnTo>
                  <a:pt x="1510" y="1548"/>
                </a:lnTo>
                <a:lnTo>
                  <a:pt x="1508" y="1560"/>
                </a:lnTo>
                <a:lnTo>
                  <a:pt x="1505" y="1572"/>
                </a:lnTo>
                <a:lnTo>
                  <a:pt x="1504" y="1584"/>
                </a:lnTo>
                <a:lnTo>
                  <a:pt x="1503" y="1596"/>
                </a:lnTo>
                <a:lnTo>
                  <a:pt x="1500" y="1622"/>
                </a:lnTo>
                <a:lnTo>
                  <a:pt x="1499" y="1647"/>
                </a:lnTo>
                <a:lnTo>
                  <a:pt x="1499" y="1673"/>
                </a:lnTo>
                <a:lnTo>
                  <a:pt x="1499" y="2198"/>
                </a:lnTo>
                <a:lnTo>
                  <a:pt x="1169" y="2198"/>
                </a:lnTo>
                <a:lnTo>
                  <a:pt x="1169" y="1666"/>
                </a:lnTo>
                <a:lnTo>
                  <a:pt x="1169" y="1136"/>
                </a:lnTo>
                <a:close/>
                <a:moveTo>
                  <a:pt x="0" y="0"/>
                </a:moveTo>
                <a:lnTo>
                  <a:pt x="700" y="0"/>
                </a:lnTo>
                <a:lnTo>
                  <a:pt x="1401" y="0"/>
                </a:lnTo>
                <a:lnTo>
                  <a:pt x="2103" y="0"/>
                </a:lnTo>
                <a:lnTo>
                  <a:pt x="2804" y="0"/>
                </a:lnTo>
                <a:lnTo>
                  <a:pt x="2804" y="701"/>
                </a:lnTo>
                <a:lnTo>
                  <a:pt x="2804" y="1403"/>
                </a:lnTo>
                <a:lnTo>
                  <a:pt x="2804" y="2104"/>
                </a:lnTo>
                <a:lnTo>
                  <a:pt x="2804" y="2806"/>
                </a:lnTo>
                <a:lnTo>
                  <a:pt x="2103" y="2806"/>
                </a:lnTo>
                <a:lnTo>
                  <a:pt x="1401" y="2806"/>
                </a:lnTo>
                <a:lnTo>
                  <a:pt x="700" y="2806"/>
                </a:lnTo>
                <a:lnTo>
                  <a:pt x="0" y="2806"/>
                </a:lnTo>
                <a:lnTo>
                  <a:pt x="0" y="2104"/>
                </a:lnTo>
                <a:lnTo>
                  <a:pt x="0" y="1403"/>
                </a:lnTo>
                <a:lnTo>
                  <a:pt x="0" y="701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0201" tIns="40100" rIns="80201" bIns="40100" numCol="1" anchor="t" anchorCtr="0" compatLnSpc="1">
            <a:prstTxWarp prst="textNoShape">
              <a:avLst/>
            </a:prstTxWarp>
          </a:bodyPr>
          <a:lstStyle/>
          <a:p>
            <a:endParaRPr lang="en-GB" sz="1579"/>
          </a:p>
        </p:txBody>
      </p:sp>
      <p:sp>
        <p:nvSpPr>
          <p:cNvPr id="18" name="Text Placehold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736564" y="6083543"/>
            <a:ext cx="9220273" cy="635489"/>
          </a:xfrm>
        </p:spPr>
        <p:txBody>
          <a:bodyPr/>
          <a:lstStyle>
            <a:lvl1pPr marL="0" indent="0" algn="ctr">
              <a:spcBef>
                <a:spcPts val="175"/>
              </a:spcBef>
              <a:buFontTx/>
              <a:buNone/>
              <a:defRPr sz="1403" b="0"/>
            </a:lvl1pPr>
            <a:lvl2pPr marL="0" indent="0" algn="ctr">
              <a:spcBef>
                <a:spcPts val="175"/>
              </a:spcBef>
              <a:buFontTx/>
              <a:buNone/>
              <a:defRPr sz="1228"/>
            </a:lvl2pPr>
            <a:lvl3pPr marL="0" indent="0" algn="ctr">
              <a:spcBef>
                <a:spcPts val="175"/>
              </a:spcBef>
              <a:buFontTx/>
              <a:buNone/>
              <a:defRPr sz="877"/>
            </a:lvl3pPr>
            <a:lvl4pPr marL="0" indent="0" algn="ctr">
              <a:spcBef>
                <a:spcPts val="175"/>
              </a:spcBef>
              <a:buFontTx/>
              <a:buNone/>
              <a:defRPr sz="877"/>
            </a:lvl4pPr>
            <a:lvl5pPr marL="0" indent="0" algn="ctr">
              <a:spcBef>
                <a:spcPts val="175"/>
              </a:spcBef>
              <a:buFontTx/>
              <a:buNone/>
              <a:defRPr sz="877"/>
            </a:lvl5pPr>
          </a:lstStyle>
          <a:p>
            <a:pPr lvl="0"/>
            <a:r>
              <a:rPr lang="en-US"/>
              <a:t>Your contact detail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Picture Placeholder 14" descr="dont touch/move" title="Kemira Logo"/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4715200" y="4734331"/>
            <a:ext cx="1263000" cy="296821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i-FI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41699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 with Picture Neg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0693400" cy="756285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6672064" y="620688"/>
                </a:moveTo>
                <a:lnTo>
                  <a:pt x="6672064" y="908720"/>
                </a:lnTo>
                <a:lnTo>
                  <a:pt x="6960096" y="908720"/>
                </a:lnTo>
                <a:lnTo>
                  <a:pt x="6960096" y="620688"/>
                </a:lnTo>
                <a:close/>
                <a:moveTo>
                  <a:pt x="6312024" y="620688"/>
                </a:moveTo>
                <a:lnTo>
                  <a:pt x="6312024" y="908720"/>
                </a:lnTo>
                <a:lnTo>
                  <a:pt x="6600056" y="908720"/>
                </a:lnTo>
                <a:lnTo>
                  <a:pt x="6600056" y="620688"/>
                </a:lnTo>
                <a:close/>
                <a:moveTo>
                  <a:pt x="5951984" y="620688"/>
                </a:moveTo>
                <a:lnTo>
                  <a:pt x="5951984" y="908720"/>
                </a:lnTo>
                <a:lnTo>
                  <a:pt x="6240016" y="908720"/>
                </a:lnTo>
                <a:lnTo>
                  <a:pt x="6240016" y="620688"/>
                </a:lnTo>
                <a:close/>
                <a:moveTo>
                  <a:pt x="5591944" y="620688"/>
                </a:moveTo>
                <a:lnTo>
                  <a:pt x="5591944" y="908720"/>
                </a:lnTo>
                <a:lnTo>
                  <a:pt x="5879976" y="908720"/>
                </a:lnTo>
                <a:lnTo>
                  <a:pt x="5879976" y="620688"/>
                </a:lnTo>
                <a:close/>
                <a:moveTo>
                  <a:pt x="5231904" y="620688"/>
                </a:moveTo>
                <a:lnTo>
                  <a:pt x="5231904" y="908720"/>
                </a:lnTo>
                <a:lnTo>
                  <a:pt x="5519936" y="908720"/>
                </a:lnTo>
                <a:lnTo>
                  <a:pt x="5519936" y="620688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5171" y="1874958"/>
            <a:ext cx="9221666" cy="1747650"/>
          </a:xfrm>
        </p:spPr>
        <p:txBody>
          <a:bodyPr anchor="b" anchorCtr="0"/>
          <a:lstStyle>
            <a:lvl1pPr algn="ctr">
              <a:defRPr sz="5263" spc="-263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hank you Text.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4010B8E-2969-487B-AFD3-0D007C4E7103}" type="datetime1">
              <a:rPr lang="fi-FI" smtClean="0"/>
              <a:t>22.5.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LASSIFICATION  /  PRESENTATION  /  AUTHO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9B8CDF1A-3CDE-4195-AF23-CDCF2878DEB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reeform 7">
            <a:hlinkClick r:id="rId2" tooltip="Twitter"/>
          </p:cNvPr>
          <p:cNvSpPr>
            <a:spLocks noChangeAspect="1" noEditPoints="1"/>
          </p:cNvSpPr>
          <p:nvPr/>
        </p:nvSpPr>
        <p:spPr bwMode="auto">
          <a:xfrm>
            <a:off x="4904629" y="685083"/>
            <a:ext cx="252600" cy="317600"/>
          </a:xfrm>
          <a:custGeom>
            <a:avLst/>
            <a:gdLst>
              <a:gd name="T0" fmla="*/ 1215 w 2806"/>
              <a:gd name="T1" fmla="*/ 2154 h 2806"/>
              <a:gd name="T2" fmla="*/ 1391 w 2806"/>
              <a:gd name="T3" fmla="*/ 2115 h 2806"/>
              <a:gd name="T4" fmla="*/ 1549 w 2806"/>
              <a:gd name="T5" fmla="*/ 2052 h 2806"/>
              <a:gd name="T6" fmla="*/ 1690 w 2806"/>
              <a:gd name="T7" fmla="*/ 1968 h 2806"/>
              <a:gd name="T8" fmla="*/ 1813 w 2806"/>
              <a:gd name="T9" fmla="*/ 1866 h 2806"/>
              <a:gd name="T10" fmla="*/ 1917 w 2806"/>
              <a:gd name="T11" fmla="*/ 1747 h 2806"/>
              <a:gd name="T12" fmla="*/ 2002 w 2806"/>
              <a:gd name="T13" fmla="*/ 1618 h 2806"/>
              <a:gd name="T14" fmla="*/ 2069 w 2806"/>
              <a:gd name="T15" fmla="*/ 1479 h 2806"/>
              <a:gd name="T16" fmla="*/ 2115 w 2806"/>
              <a:gd name="T17" fmla="*/ 1336 h 2806"/>
              <a:gd name="T18" fmla="*/ 2144 w 2806"/>
              <a:gd name="T19" fmla="*/ 1166 h 2806"/>
              <a:gd name="T20" fmla="*/ 2148 w 2806"/>
              <a:gd name="T21" fmla="*/ 1022 h 2806"/>
              <a:gd name="T22" fmla="*/ 2264 w 2806"/>
              <a:gd name="T23" fmla="*/ 918 h 2806"/>
              <a:gd name="T24" fmla="*/ 2340 w 2806"/>
              <a:gd name="T25" fmla="*/ 822 h 2806"/>
              <a:gd name="T26" fmla="*/ 2176 w 2806"/>
              <a:gd name="T27" fmla="*/ 873 h 2806"/>
              <a:gd name="T28" fmla="*/ 2175 w 2806"/>
              <a:gd name="T29" fmla="*/ 842 h 2806"/>
              <a:gd name="T30" fmla="*/ 2242 w 2806"/>
              <a:gd name="T31" fmla="*/ 764 h 2806"/>
              <a:gd name="T32" fmla="*/ 2288 w 2806"/>
              <a:gd name="T33" fmla="*/ 670 h 2806"/>
              <a:gd name="T34" fmla="*/ 2139 w 2806"/>
              <a:gd name="T35" fmla="*/ 738 h 2806"/>
              <a:gd name="T36" fmla="*/ 2016 w 2806"/>
              <a:gd name="T37" fmla="*/ 737 h 2806"/>
              <a:gd name="T38" fmla="*/ 1919 w 2806"/>
              <a:gd name="T39" fmla="*/ 674 h 2806"/>
              <a:gd name="T40" fmla="*/ 1804 w 2806"/>
              <a:gd name="T41" fmla="*/ 644 h 2806"/>
              <a:gd name="T42" fmla="*/ 1685 w 2806"/>
              <a:gd name="T43" fmla="*/ 649 h 2806"/>
              <a:gd name="T44" fmla="*/ 1580 w 2806"/>
              <a:gd name="T45" fmla="*/ 689 h 2806"/>
              <a:gd name="T46" fmla="*/ 1491 w 2806"/>
              <a:gd name="T47" fmla="*/ 754 h 2806"/>
              <a:gd name="T48" fmla="*/ 1425 w 2806"/>
              <a:gd name="T49" fmla="*/ 844 h 2806"/>
              <a:gd name="T50" fmla="*/ 1391 w 2806"/>
              <a:gd name="T51" fmla="*/ 930 h 2806"/>
              <a:gd name="T52" fmla="*/ 1380 w 2806"/>
              <a:gd name="T53" fmla="*/ 1049 h 2806"/>
              <a:gd name="T54" fmla="*/ 1329 w 2806"/>
              <a:gd name="T55" fmla="*/ 1110 h 2806"/>
              <a:gd name="T56" fmla="*/ 1157 w 2806"/>
              <a:gd name="T57" fmla="*/ 1077 h 2806"/>
              <a:gd name="T58" fmla="*/ 995 w 2806"/>
              <a:gd name="T59" fmla="*/ 1019 h 2806"/>
              <a:gd name="T60" fmla="*/ 846 w 2806"/>
              <a:gd name="T61" fmla="*/ 938 h 2806"/>
              <a:gd name="T62" fmla="*/ 713 w 2806"/>
              <a:gd name="T63" fmla="*/ 835 h 2806"/>
              <a:gd name="T64" fmla="*/ 596 w 2806"/>
              <a:gd name="T65" fmla="*/ 712 h 2806"/>
              <a:gd name="T66" fmla="*/ 558 w 2806"/>
              <a:gd name="T67" fmla="*/ 804 h 2806"/>
              <a:gd name="T68" fmla="*/ 544 w 2806"/>
              <a:gd name="T69" fmla="*/ 892 h 2806"/>
              <a:gd name="T70" fmla="*/ 549 w 2806"/>
              <a:gd name="T71" fmla="*/ 967 h 2806"/>
              <a:gd name="T72" fmla="*/ 577 w 2806"/>
              <a:gd name="T73" fmla="*/ 1058 h 2806"/>
              <a:gd name="T74" fmla="*/ 630 w 2806"/>
              <a:gd name="T75" fmla="*/ 1148 h 2806"/>
              <a:gd name="T76" fmla="*/ 704 w 2806"/>
              <a:gd name="T77" fmla="*/ 1225 h 2806"/>
              <a:gd name="T78" fmla="*/ 603 w 2806"/>
              <a:gd name="T79" fmla="*/ 1205 h 2806"/>
              <a:gd name="T80" fmla="*/ 542 w 2806"/>
              <a:gd name="T81" fmla="*/ 1200 h 2806"/>
              <a:gd name="T82" fmla="*/ 559 w 2806"/>
              <a:gd name="T83" fmla="*/ 1299 h 2806"/>
              <a:gd name="T84" fmla="*/ 601 w 2806"/>
              <a:gd name="T85" fmla="*/ 1388 h 2806"/>
              <a:gd name="T86" fmla="*/ 652 w 2806"/>
              <a:gd name="T87" fmla="*/ 1451 h 2806"/>
              <a:gd name="T88" fmla="*/ 728 w 2806"/>
              <a:gd name="T89" fmla="*/ 1512 h 2806"/>
              <a:gd name="T90" fmla="*/ 818 w 2806"/>
              <a:gd name="T91" fmla="*/ 1551 h 2806"/>
              <a:gd name="T92" fmla="*/ 775 w 2806"/>
              <a:gd name="T93" fmla="*/ 1571 h 2806"/>
              <a:gd name="T94" fmla="*/ 682 w 2806"/>
              <a:gd name="T95" fmla="*/ 1580 h 2806"/>
              <a:gd name="T96" fmla="*/ 721 w 2806"/>
              <a:gd name="T97" fmla="*/ 1659 h 2806"/>
              <a:gd name="T98" fmla="*/ 777 w 2806"/>
              <a:gd name="T99" fmla="*/ 1727 h 2806"/>
              <a:gd name="T100" fmla="*/ 848 w 2806"/>
              <a:gd name="T101" fmla="*/ 1779 h 2806"/>
              <a:gd name="T102" fmla="*/ 929 w 2806"/>
              <a:gd name="T103" fmla="*/ 1816 h 2806"/>
              <a:gd name="T104" fmla="*/ 1036 w 2806"/>
              <a:gd name="T105" fmla="*/ 1832 h 2806"/>
              <a:gd name="T106" fmla="*/ 930 w 2806"/>
              <a:gd name="T107" fmla="*/ 1901 h 2806"/>
              <a:gd name="T108" fmla="*/ 770 w 2806"/>
              <a:gd name="T109" fmla="*/ 1968 h 2806"/>
              <a:gd name="T110" fmla="*/ 625 w 2806"/>
              <a:gd name="T111" fmla="*/ 1994 h 2806"/>
              <a:gd name="T112" fmla="*/ 489 w 2806"/>
              <a:gd name="T113" fmla="*/ 1994 h 2806"/>
              <a:gd name="T114" fmla="*/ 600 w 2806"/>
              <a:gd name="T115" fmla="*/ 2065 h 2806"/>
              <a:gd name="T116" fmla="*/ 819 w 2806"/>
              <a:gd name="T117" fmla="*/ 2138 h 2806"/>
              <a:gd name="T118" fmla="*/ 935 w 2806"/>
              <a:gd name="T119" fmla="*/ 2158 h 2806"/>
              <a:gd name="T120" fmla="*/ 0 w 2806"/>
              <a:gd name="T121" fmla="*/ 0 h 2806"/>
              <a:gd name="T122" fmla="*/ 2806 w 2806"/>
              <a:gd name="T123" fmla="*/ 1403 h 2806"/>
              <a:gd name="T124" fmla="*/ 0 w 2806"/>
              <a:gd name="T125" fmla="*/ 2806 h 28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806" h="2806">
                <a:moveTo>
                  <a:pt x="1055" y="2164"/>
                </a:moveTo>
                <a:lnTo>
                  <a:pt x="1089" y="2164"/>
                </a:lnTo>
                <a:lnTo>
                  <a:pt x="1121" y="2162"/>
                </a:lnTo>
                <a:lnTo>
                  <a:pt x="1153" y="2160"/>
                </a:lnTo>
                <a:lnTo>
                  <a:pt x="1184" y="2158"/>
                </a:lnTo>
                <a:lnTo>
                  <a:pt x="1215" y="2154"/>
                </a:lnTo>
                <a:lnTo>
                  <a:pt x="1246" y="2149"/>
                </a:lnTo>
                <a:lnTo>
                  <a:pt x="1276" y="2144"/>
                </a:lnTo>
                <a:lnTo>
                  <a:pt x="1305" y="2138"/>
                </a:lnTo>
                <a:lnTo>
                  <a:pt x="1335" y="2132"/>
                </a:lnTo>
                <a:lnTo>
                  <a:pt x="1364" y="2124"/>
                </a:lnTo>
                <a:lnTo>
                  <a:pt x="1391" y="2115"/>
                </a:lnTo>
                <a:lnTo>
                  <a:pt x="1419" y="2107"/>
                </a:lnTo>
                <a:lnTo>
                  <a:pt x="1446" y="2097"/>
                </a:lnTo>
                <a:lnTo>
                  <a:pt x="1472" y="2087"/>
                </a:lnTo>
                <a:lnTo>
                  <a:pt x="1498" y="2076"/>
                </a:lnTo>
                <a:lnTo>
                  <a:pt x="1524" y="2065"/>
                </a:lnTo>
                <a:lnTo>
                  <a:pt x="1549" y="2052"/>
                </a:lnTo>
                <a:lnTo>
                  <a:pt x="1574" y="2040"/>
                </a:lnTo>
                <a:lnTo>
                  <a:pt x="1599" y="2026"/>
                </a:lnTo>
                <a:lnTo>
                  <a:pt x="1622" y="2013"/>
                </a:lnTo>
                <a:lnTo>
                  <a:pt x="1646" y="1998"/>
                </a:lnTo>
                <a:lnTo>
                  <a:pt x="1668" y="1983"/>
                </a:lnTo>
                <a:lnTo>
                  <a:pt x="1690" y="1968"/>
                </a:lnTo>
                <a:lnTo>
                  <a:pt x="1712" y="1952"/>
                </a:lnTo>
                <a:lnTo>
                  <a:pt x="1733" y="1936"/>
                </a:lnTo>
                <a:lnTo>
                  <a:pt x="1753" y="1919"/>
                </a:lnTo>
                <a:lnTo>
                  <a:pt x="1774" y="1901"/>
                </a:lnTo>
                <a:lnTo>
                  <a:pt x="1794" y="1883"/>
                </a:lnTo>
                <a:lnTo>
                  <a:pt x="1813" y="1866"/>
                </a:lnTo>
                <a:lnTo>
                  <a:pt x="1831" y="1847"/>
                </a:lnTo>
                <a:lnTo>
                  <a:pt x="1850" y="1827"/>
                </a:lnTo>
                <a:lnTo>
                  <a:pt x="1867" y="1807"/>
                </a:lnTo>
                <a:lnTo>
                  <a:pt x="1884" y="1788"/>
                </a:lnTo>
                <a:lnTo>
                  <a:pt x="1900" y="1768"/>
                </a:lnTo>
                <a:lnTo>
                  <a:pt x="1917" y="1747"/>
                </a:lnTo>
                <a:lnTo>
                  <a:pt x="1933" y="1727"/>
                </a:lnTo>
                <a:lnTo>
                  <a:pt x="1947" y="1705"/>
                </a:lnTo>
                <a:lnTo>
                  <a:pt x="1962" y="1684"/>
                </a:lnTo>
                <a:lnTo>
                  <a:pt x="1976" y="1661"/>
                </a:lnTo>
                <a:lnTo>
                  <a:pt x="1990" y="1640"/>
                </a:lnTo>
                <a:lnTo>
                  <a:pt x="2002" y="1618"/>
                </a:lnTo>
                <a:lnTo>
                  <a:pt x="2014" y="1595"/>
                </a:lnTo>
                <a:lnTo>
                  <a:pt x="2027" y="1572"/>
                </a:lnTo>
                <a:lnTo>
                  <a:pt x="2038" y="1549"/>
                </a:lnTo>
                <a:lnTo>
                  <a:pt x="2048" y="1526"/>
                </a:lnTo>
                <a:lnTo>
                  <a:pt x="2059" y="1503"/>
                </a:lnTo>
                <a:lnTo>
                  <a:pt x="2069" y="1479"/>
                </a:lnTo>
                <a:lnTo>
                  <a:pt x="2077" y="1456"/>
                </a:lnTo>
                <a:lnTo>
                  <a:pt x="2086" y="1432"/>
                </a:lnTo>
                <a:lnTo>
                  <a:pt x="2093" y="1408"/>
                </a:lnTo>
                <a:lnTo>
                  <a:pt x="2101" y="1384"/>
                </a:lnTo>
                <a:lnTo>
                  <a:pt x="2108" y="1361"/>
                </a:lnTo>
                <a:lnTo>
                  <a:pt x="2115" y="1336"/>
                </a:lnTo>
                <a:lnTo>
                  <a:pt x="2121" y="1312"/>
                </a:lnTo>
                <a:lnTo>
                  <a:pt x="2126" y="1288"/>
                </a:lnTo>
                <a:lnTo>
                  <a:pt x="2131" y="1263"/>
                </a:lnTo>
                <a:lnTo>
                  <a:pt x="2136" y="1239"/>
                </a:lnTo>
                <a:lnTo>
                  <a:pt x="2138" y="1215"/>
                </a:lnTo>
                <a:lnTo>
                  <a:pt x="2144" y="1166"/>
                </a:lnTo>
                <a:lnTo>
                  <a:pt x="2147" y="1143"/>
                </a:lnTo>
                <a:lnTo>
                  <a:pt x="2148" y="1118"/>
                </a:lnTo>
                <a:lnTo>
                  <a:pt x="2148" y="1095"/>
                </a:lnTo>
                <a:lnTo>
                  <a:pt x="2149" y="1071"/>
                </a:lnTo>
                <a:lnTo>
                  <a:pt x="2148" y="1046"/>
                </a:lnTo>
                <a:lnTo>
                  <a:pt x="2148" y="1022"/>
                </a:lnTo>
                <a:lnTo>
                  <a:pt x="2175" y="1001"/>
                </a:lnTo>
                <a:lnTo>
                  <a:pt x="2189" y="990"/>
                </a:lnTo>
                <a:lnTo>
                  <a:pt x="2202" y="978"/>
                </a:lnTo>
                <a:lnTo>
                  <a:pt x="2228" y="955"/>
                </a:lnTo>
                <a:lnTo>
                  <a:pt x="2252" y="930"/>
                </a:lnTo>
                <a:lnTo>
                  <a:pt x="2264" y="918"/>
                </a:lnTo>
                <a:lnTo>
                  <a:pt x="2275" y="904"/>
                </a:lnTo>
                <a:lnTo>
                  <a:pt x="2288" y="892"/>
                </a:lnTo>
                <a:lnTo>
                  <a:pt x="2299" y="878"/>
                </a:lnTo>
                <a:lnTo>
                  <a:pt x="2320" y="851"/>
                </a:lnTo>
                <a:lnTo>
                  <a:pt x="2330" y="836"/>
                </a:lnTo>
                <a:lnTo>
                  <a:pt x="2340" y="822"/>
                </a:lnTo>
                <a:lnTo>
                  <a:pt x="2314" y="834"/>
                </a:lnTo>
                <a:lnTo>
                  <a:pt x="2286" y="844"/>
                </a:lnTo>
                <a:lnTo>
                  <a:pt x="2259" y="852"/>
                </a:lnTo>
                <a:lnTo>
                  <a:pt x="2232" y="861"/>
                </a:lnTo>
                <a:lnTo>
                  <a:pt x="2205" y="867"/>
                </a:lnTo>
                <a:lnTo>
                  <a:pt x="2176" y="873"/>
                </a:lnTo>
                <a:lnTo>
                  <a:pt x="2148" y="878"/>
                </a:lnTo>
                <a:lnTo>
                  <a:pt x="2118" y="883"/>
                </a:lnTo>
                <a:lnTo>
                  <a:pt x="2133" y="873"/>
                </a:lnTo>
                <a:lnTo>
                  <a:pt x="2148" y="863"/>
                </a:lnTo>
                <a:lnTo>
                  <a:pt x="2162" y="853"/>
                </a:lnTo>
                <a:lnTo>
                  <a:pt x="2175" y="842"/>
                </a:lnTo>
                <a:lnTo>
                  <a:pt x="2188" y="830"/>
                </a:lnTo>
                <a:lnTo>
                  <a:pt x="2200" y="818"/>
                </a:lnTo>
                <a:lnTo>
                  <a:pt x="2211" y="805"/>
                </a:lnTo>
                <a:lnTo>
                  <a:pt x="2222" y="792"/>
                </a:lnTo>
                <a:lnTo>
                  <a:pt x="2232" y="778"/>
                </a:lnTo>
                <a:lnTo>
                  <a:pt x="2242" y="764"/>
                </a:lnTo>
                <a:lnTo>
                  <a:pt x="2252" y="749"/>
                </a:lnTo>
                <a:lnTo>
                  <a:pt x="2261" y="735"/>
                </a:lnTo>
                <a:lnTo>
                  <a:pt x="2268" y="719"/>
                </a:lnTo>
                <a:lnTo>
                  <a:pt x="2275" y="702"/>
                </a:lnTo>
                <a:lnTo>
                  <a:pt x="2282" y="686"/>
                </a:lnTo>
                <a:lnTo>
                  <a:pt x="2288" y="670"/>
                </a:lnTo>
                <a:lnTo>
                  <a:pt x="2259" y="686"/>
                </a:lnTo>
                <a:lnTo>
                  <a:pt x="2231" y="701"/>
                </a:lnTo>
                <a:lnTo>
                  <a:pt x="2201" y="715"/>
                </a:lnTo>
                <a:lnTo>
                  <a:pt x="2170" y="727"/>
                </a:lnTo>
                <a:lnTo>
                  <a:pt x="2155" y="732"/>
                </a:lnTo>
                <a:lnTo>
                  <a:pt x="2139" y="738"/>
                </a:lnTo>
                <a:lnTo>
                  <a:pt x="2108" y="748"/>
                </a:lnTo>
                <a:lnTo>
                  <a:pt x="2092" y="752"/>
                </a:lnTo>
                <a:lnTo>
                  <a:pt x="2076" y="756"/>
                </a:lnTo>
                <a:lnTo>
                  <a:pt x="2044" y="763"/>
                </a:lnTo>
                <a:lnTo>
                  <a:pt x="2030" y="749"/>
                </a:lnTo>
                <a:lnTo>
                  <a:pt x="2016" y="737"/>
                </a:lnTo>
                <a:lnTo>
                  <a:pt x="2001" y="725"/>
                </a:lnTo>
                <a:lnTo>
                  <a:pt x="1986" y="712"/>
                </a:lnTo>
                <a:lnTo>
                  <a:pt x="1970" y="702"/>
                </a:lnTo>
                <a:lnTo>
                  <a:pt x="1954" y="693"/>
                </a:lnTo>
                <a:lnTo>
                  <a:pt x="1936" y="683"/>
                </a:lnTo>
                <a:lnTo>
                  <a:pt x="1919" y="674"/>
                </a:lnTo>
                <a:lnTo>
                  <a:pt x="1900" y="667"/>
                </a:lnTo>
                <a:lnTo>
                  <a:pt x="1882" y="660"/>
                </a:lnTo>
                <a:lnTo>
                  <a:pt x="1863" y="655"/>
                </a:lnTo>
                <a:lnTo>
                  <a:pt x="1844" y="650"/>
                </a:lnTo>
                <a:lnTo>
                  <a:pt x="1824" y="647"/>
                </a:lnTo>
                <a:lnTo>
                  <a:pt x="1804" y="644"/>
                </a:lnTo>
                <a:lnTo>
                  <a:pt x="1784" y="643"/>
                </a:lnTo>
                <a:lnTo>
                  <a:pt x="1763" y="642"/>
                </a:lnTo>
                <a:lnTo>
                  <a:pt x="1743" y="642"/>
                </a:lnTo>
                <a:lnTo>
                  <a:pt x="1724" y="644"/>
                </a:lnTo>
                <a:lnTo>
                  <a:pt x="1705" y="647"/>
                </a:lnTo>
                <a:lnTo>
                  <a:pt x="1685" y="649"/>
                </a:lnTo>
                <a:lnTo>
                  <a:pt x="1667" y="654"/>
                </a:lnTo>
                <a:lnTo>
                  <a:pt x="1649" y="659"/>
                </a:lnTo>
                <a:lnTo>
                  <a:pt x="1631" y="665"/>
                </a:lnTo>
                <a:lnTo>
                  <a:pt x="1613" y="672"/>
                </a:lnTo>
                <a:lnTo>
                  <a:pt x="1596" y="680"/>
                </a:lnTo>
                <a:lnTo>
                  <a:pt x="1580" y="689"/>
                </a:lnTo>
                <a:lnTo>
                  <a:pt x="1564" y="698"/>
                </a:lnTo>
                <a:lnTo>
                  <a:pt x="1548" y="707"/>
                </a:lnTo>
                <a:lnTo>
                  <a:pt x="1533" y="719"/>
                </a:lnTo>
                <a:lnTo>
                  <a:pt x="1518" y="730"/>
                </a:lnTo>
                <a:lnTo>
                  <a:pt x="1505" y="742"/>
                </a:lnTo>
                <a:lnTo>
                  <a:pt x="1491" y="754"/>
                </a:lnTo>
                <a:lnTo>
                  <a:pt x="1479" y="768"/>
                </a:lnTo>
                <a:lnTo>
                  <a:pt x="1466" y="782"/>
                </a:lnTo>
                <a:lnTo>
                  <a:pt x="1455" y="796"/>
                </a:lnTo>
                <a:lnTo>
                  <a:pt x="1444" y="811"/>
                </a:lnTo>
                <a:lnTo>
                  <a:pt x="1434" y="827"/>
                </a:lnTo>
                <a:lnTo>
                  <a:pt x="1425" y="844"/>
                </a:lnTo>
                <a:lnTo>
                  <a:pt x="1420" y="851"/>
                </a:lnTo>
                <a:lnTo>
                  <a:pt x="1417" y="860"/>
                </a:lnTo>
                <a:lnTo>
                  <a:pt x="1409" y="877"/>
                </a:lnTo>
                <a:lnTo>
                  <a:pt x="1402" y="894"/>
                </a:lnTo>
                <a:lnTo>
                  <a:pt x="1396" y="912"/>
                </a:lnTo>
                <a:lnTo>
                  <a:pt x="1391" y="930"/>
                </a:lnTo>
                <a:lnTo>
                  <a:pt x="1387" y="949"/>
                </a:lnTo>
                <a:lnTo>
                  <a:pt x="1383" y="967"/>
                </a:lnTo>
                <a:lnTo>
                  <a:pt x="1381" y="987"/>
                </a:lnTo>
                <a:lnTo>
                  <a:pt x="1380" y="1007"/>
                </a:lnTo>
                <a:lnTo>
                  <a:pt x="1378" y="1027"/>
                </a:lnTo>
                <a:lnTo>
                  <a:pt x="1380" y="1049"/>
                </a:lnTo>
                <a:lnTo>
                  <a:pt x="1381" y="1060"/>
                </a:lnTo>
                <a:lnTo>
                  <a:pt x="1381" y="1071"/>
                </a:lnTo>
                <a:lnTo>
                  <a:pt x="1385" y="1092"/>
                </a:lnTo>
                <a:lnTo>
                  <a:pt x="1388" y="1113"/>
                </a:lnTo>
                <a:lnTo>
                  <a:pt x="1359" y="1112"/>
                </a:lnTo>
                <a:lnTo>
                  <a:pt x="1329" y="1110"/>
                </a:lnTo>
                <a:lnTo>
                  <a:pt x="1300" y="1106"/>
                </a:lnTo>
                <a:lnTo>
                  <a:pt x="1271" y="1101"/>
                </a:lnTo>
                <a:lnTo>
                  <a:pt x="1242" y="1096"/>
                </a:lnTo>
                <a:lnTo>
                  <a:pt x="1214" y="1091"/>
                </a:lnTo>
                <a:lnTo>
                  <a:pt x="1185" y="1085"/>
                </a:lnTo>
                <a:lnTo>
                  <a:pt x="1157" y="1077"/>
                </a:lnTo>
                <a:lnTo>
                  <a:pt x="1130" y="1069"/>
                </a:lnTo>
                <a:lnTo>
                  <a:pt x="1101" y="1060"/>
                </a:lnTo>
                <a:lnTo>
                  <a:pt x="1075" y="1051"/>
                </a:lnTo>
                <a:lnTo>
                  <a:pt x="1048" y="1041"/>
                </a:lnTo>
                <a:lnTo>
                  <a:pt x="1021" y="1030"/>
                </a:lnTo>
                <a:lnTo>
                  <a:pt x="995" y="1019"/>
                </a:lnTo>
                <a:lnTo>
                  <a:pt x="970" y="1007"/>
                </a:lnTo>
                <a:lnTo>
                  <a:pt x="944" y="994"/>
                </a:lnTo>
                <a:lnTo>
                  <a:pt x="919" y="981"/>
                </a:lnTo>
                <a:lnTo>
                  <a:pt x="895" y="967"/>
                </a:lnTo>
                <a:lnTo>
                  <a:pt x="870" y="952"/>
                </a:lnTo>
                <a:lnTo>
                  <a:pt x="846" y="938"/>
                </a:lnTo>
                <a:lnTo>
                  <a:pt x="823" y="921"/>
                </a:lnTo>
                <a:lnTo>
                  <a:pt x="801" y="905"/>
                </a:lnTo>
                <a:lnTo>
                  <a:pt x="777" y="888"/>
                </a:lnTo>
                <a:lnTo>
                  <a:pt x="756" y="871"/>
                </a:lnTo>
                <a:lnTo>
                  <a:pt x="734" y="853"/>
                </a:lnTo>
                <a:lnTo>
                  <a:pt x="713" y="835"/>
                </a:lnTo>
                <a:lnTo>
                  <a:pt x="692" y="815"/>
                </a:lnTo>
                <a:lnTo>
                  <a:pt x="672" y="795"/>
                </a:lnTo>
                <a:lnTo>
                  <a:pt x="652" y="775"/>
                </a:lnTo>
                <a:lnTo>
                  <a:pt x="634" y="754"/>
                </a:lnTo>
                <a:lnTo>
                  <a:pt x="615" y="733"/>
                </a:lnTo>
                <a:lnTo>
                  <a:pt x="596" y="712"/>
                </a:lnTo>
                <a:lnTo>
                  <a:pt x="585" y="735"/>
                </a:lnTo>
                <a:lnTo>
                  <a:pt x="580" y="746"/>
                </a:lnTo>
                <a:lnTo>
                  <a:pt x="574" y="757"/>
                </a:lnTo>
                <a:lnTo>
                  <a:pt x="565" y="780"/>
                </a:lnTo>
                <a:lnTo>
                  <a:pt x="562" y="792"/>
                </a:lnTo>
                <a:lnTo>
                  <a:pt x="558" y="804"/>
                </a:lnTo>
                <a:lnTo>
                  <a:pt x="556" y="816"/>
                </a:lnTo>
                <a:lnTo>
                  <a:pt x="553" y="829"/>
                </a:lnTo>
                <a:lnTo>
                  <a:pt x="548" y="853"/>
                </a:lnTo>
                <a:lnTo>
                  <a:pt x="547" y="866"/>
                </a:lnTo>
                <a:lnTo>
                  <a:pt x="546" y="879"/>
                </a:lnTo>
                <a:lnTo>
                  <a:pt x="544" y="892"/>
                </a:lnTo>
                <a:lnTo>
                  <a:pt x="544" y="905"/>
                </a:lnTo>
                <a:lnTo>
                  <a:pt x="544" y="918"/>
                </a:lnTo>
                <a:lnTo>
                  <a:pt x="546" y="930"/>
                </a:lnTo>
                <a:lnTo>
                  <a:pt x="547" y="942"/>
                </a:lnTo>
                <a:lnTo>
                  <a:pt x="548" y="955"/>
                </a:lnTo>
                <a:lnTo>
                  <a:pt x="549" y="967"/>
                </a:lnTo>
                <a:lnTo>
                  <a:pt x="552" y="978"/>
                </a:lnTo>
                <a:lnTo>
                  <a:pt x="557" y="1002"/>
                </a:lnTo>
                <a:lnTo>
                  <a:pt x="561" y="1013"/>
                </a:lnTo>
                <a:lnTo>
                  <a:pt x="564" y="1025"/>
                </a:lnTo>
                <a:lnTo>
                  <a:pt x="572" y="1048"/>
                </a:lnTo>
                <a:lnTo>
                  <a:pt x="577" y="1058"/>
                </a:lnTo>
                <a:lnTo>
                  <a:pt x="582" y="1069"/>
                </a:lnTo>
                <a:lnTo>
                  <a:pt x="591" y="1090"/>
                </a:lnTo>
                <a:lnTo>
                  <a:pt x="604" y="1110"/>
                </a:lnTo>
                <a:lnTo>
                  <a:pt x="610" y="1119"/>
                </a:lnTo>
                <a:lnTo>
                  <a:pt x="616" y="1129"/>
                </a:lnTo>
                <a:lnTo>
                  <a:pt x="630" y="1148"/>
                </a:lnTo>
                <a:lnTo>
                  <a:pt x="646" y="1165"/>
                </a:lnTo>
                <a:lnTo>
                  <a:pt x="662" y="1181"/>
                </a:lnTo>
                <a:lnTo>
                  <a:pt x="679" y="1197"/>
                </a:lnTo>
                <a:lnTo>
                  <a:pt x="697" y="1212"/>
                </a:lnTo>
                <a:lnTo>
                  <a:pt x="715" y="1226"/>
                </a:lnTo>
                <a:lnTo>
                  <a:pt x="704" y="1225"/>
                </a:lnTo>
                <a:lnTo>
                  <a:pt x="692" y="1223"/>
                </a:lnTo>
                <a:lnTo>
                  <a:pt x="669" y="1221"/>
                </a:lnTo>
                <a:lnTo>
                  <a:pt x="658" y="1220"/>
                </a:lnTo>
                <a:lnTo>
                  <a:pt x="647" y="1217"/>
                </a:lnTo>
                <a:lnTo>
                  <a:pt x="625" y="1211"/>
                </a:lnTo>
                <a:lnTo>
                  <a:pt x="603" y="1205"/>
                </a:lnTo>
                <a:lnTo>
                  <a:pt x="582" y="1196"/>
                </a:lnTo>
                <a:lnTo>
                  <a:pt x="562" y="1187"/>
                </a:lnTo>
                <a:lnTo>
                  <a:pt x="552" y="1183"/>
                </a:lnTo>
                <a:lnTo>
                  <a:pt x="542" y="1178"/>
                </a:lnTo>
                <a:lnTo>
                  <a:pt x="542" y="1183"/>
                </a:lnTo>
                <a:lnTo>
                  <a:pt x="542" y="1200"/>
                </a:lnTo>
                <a:lnTo>
                  <a:pt x="543" y="1217"/>
                </a:lnTo>
                <a:lnTo>
                  <a:pt x="544" y="1233"/>
                </a:lnTo>
                <a:lnTo>
                  <a:pt x="548" y="1251"/>
                </a:lnTo>
                <a:lnTo>
                  <a:pt x="551" y="1267"/>
                </a:lnTo>
                <a:lnTo>
                  <a:pt x="556" y="1283"/>
                </a:lnTo>
                <a:lnTo>
                  <a:pt x="559" y="1299"/>
                </a:lnTo>
                <a:lnTo>
                  <a:pt x="565" y="1315"/>
                </a:lnTo>
                <a:lnTo>
                  <a:pt x="572" y="1330"/>
                </a:lnTo>
                <a:lnTo>
                  <a:pt x="578" y="1345"/>
                </a:lnTo>
                <a:lnTo>
                  <a:pt x="585" y="1359"/>
                </a:lnTo>
                <a:lnTo>
                  <a:pt x="593" y="1374"/>
                </a:lnTo>
                <a:lnTo>
                  <a:pt x="601" y="1388"/>
                </a:lnTo>
                <a:lnTo>
                  <a:pt x="610" y="1402"/>
                </a:lnTo>
                <a:lnTo>
                  <a:pt x="620" y="1414"/>
                </a:lnTo>
                <a:lnTo>
                  <a:pt x="625" y="1421"/>
                </a:lnTo>
                <a:lnTo>
                  <a:pt x="630" y="1428"/>
                </a:lnTo>
                <a:lnTo>
                  <a:pt x="641" y="1440"/>
                </a:lnTo>
                <a:lnTo>
                  <a:pt x="652" y="1451"/>
                </a:lnTo>
                <a:lnTo>
                  <a:pt x="663" y="1462"/>
                </a:lnTo>
                <a:lnTo>
                  <a:pt x="676" y="1473"/>
                </a:lnTo>
                <a:lnTo>
                  <a:pt x="688" y="1483"/>
                </a:lnTo>
                <a:lnTo>
                  <a:pt x="700" y="1493"/>
                </a:lnTo>
                <a:lnTo>
                  <a:pt x="714" y="1503"/>
                </a:lnTo>
                <a:lnTo>
                  <a:pt x="728" y="1512"/>
                </a:lnTo>
                <a:lnTo>
                  <a:pt x="741" y="1519"/>
                </a:lnTo>
                <a:lnTo>
                  <a:pt x="756" y="1526"/>
                </a:lnTo>
                <a:lnTo>
                  <a:pt x="771" y="1534"/>
                </a:lnTo>
                <a:lnTo>
                  <a:pt x="786" y="1540"/>
                </a:lnTo>
                <a:lnTo>
                  <a:pt x="802" y="1546"/>
                </a:lnTo>
                <a:lnTo>
                  <a:pt x="818" y="1551"/>
                </a:lnTo>
                <a:lnTo>
                  <a:pt x="834" y="1555"/>
                </a:lnTo>
                <a:lnTo>
                  <a:pt x="850" y="1559"/>
                </a:lnTo>
                <a:lnTo>
                  <a:pt x="825" y="1565"/>
                </a:lnTo>
                <a:lnTo>
                  <a:pt x="801" y="1569"/>
                </a:lnTo>
                <a:lnTo>
                  <a:pt x="787" y="1570"/>
                </a:lnTo>
                <a:lnTo>
                  <a:pt x="775" y="1571"/>
                </a:lnTo>
                <a:lnTo>
                  <a:pt x="749" y="1572"/>
                </a:lnTo>
                <a:lnTo>
                  <a:pt x="730" y="1572"/>
                </a:lnTo>
                <a:lnTo>
                  <a:pt x="711" y="1571"/>
                </a:lnTo>
                <a:lnTo>
                  <a:pt x="694" y="1569"/>
                </a:lnTo>
                <a:lnTo>
                  <a:pt x="677" y="1565"/>
                </a:lnTo>
                <a:lnTo>
                  <a:pt x="682" y="1580"/>
                </a:lnTo>
                <a:lnTo>
                  <a:pt x="687" y="1593"/>
                </a:lnTo>
                <a:lnTo>
                  <a:pt x="693" y="1607"/>
                </a:lnTo>
                <a:lnTo>
                  <a:pt x="699" y="1621"/>
                </a:lnTo>
                <a:lnTo>
                  <a:pt x="705" y="1634"/>
                </a:lnTo>
                <a:lnTo>
                  <a:pt x="713" y="1647"/>
                </a:lnTo>
                <a:lnTo>
                  <a:pt x="721" y="1659"/>
                </a:lnTo>
                <a:lnTo>
                  <a:pt x="730" y="1671"/>
                </a:lnTo>
                <a:lnTo>
                  <a:pt x="739" y="1682"/>
                </a:lnTo>
                <a:lnTo>
                  <a:pt x="747" y="1695"/>
                </a:lnTo>
                <a:lnTo>
                  <a:pt x="757" y="1706"/>
                </a:lnTo>
                <a:lnTo>
                  <a:pt x="767" y="1716"/>
                </a:lnTo>
                <a:lnTo>
                  <a:pt x="777" y="1727"/>
                </a:lnTo>
                <a:lnTo>
                  <a:pt x="788" y="1737"/>
                </a:lnTo>
                <a:lnTo>
                  <a:pt x="799" y="1745"/>
                </a:lnTo>
                <a:lnTo>
                  <a:pt x="812" y="1755"/>
                </a:lnTo>
                <a:lnTo>
                  <a:pt x="823" y="1764"/>
                </a:lnTo>
                <a:lnTo>
                  <a:pt x="835" y="1771"/>
                </a:lnTo>
                <a:lnTo>
                  <a:pt x="848" y="1779"/>
                </a:lnTo>
                <a:lnTo>
                  <a:pt x="861" y="1786"/>
                </a:lnTo>
                <a:lnTo>
                  <a:pt x="874" y="1794"/>
                </a:lnTo>
                <a:lnTo>
                  <a:pt x="887" y="1800"/>
                </a:lnTo>
                <a:lnTo>
                  <a:pt x="901" y="1806"/>
                </a:lnTo>
                <a:lnTo>
                  <a:pt x="916" y="1811"/>
                </a:lnTo>
                <a:lnTo>
                  <a:pt x="929" y="1816"/>
                </a:lnTo>
                <a:lnTo>
                  <a:pt x="944" y="1820"/>
                </a:lnTo>
                <a:lnTo>
                  <a:pt x="974" y="1826"/>
                </a:lnTo>
                <a:lnTo>
                  <a:pt x="989" y="1828"/>
                </a:lnTo>
                <a:lnTo>
                  <a:pt x="1005" y="1831"/>
                </a:lnTo>
                <a:lnTo>
                  <a:pt x="1020" y="1832"/>
                </a:lnTo>
                <a:lnTo>
                  <a:pt x="1036" y="1832"/>
                </a:lnTo>
                <a:lnTo>
                  <a:pt x="1011" y="1851"/>
                </a:lnTo>
                <a:lnTo>
                  <a:pt x="997" y="1861"/>
                </a:lnTo>
                <a:lnTo>
                  <a:pt x="985" y="1869"/>
                </a:lnTo>
                <a:lnTo>
                  <a:pt x="971" y="1878"/>
                </a:lnTo>
                <a:lnTo>
                  <a:pt x="958" y="1885"/>
                </a:lnTo>
                <a:lnTo>
                  <a:pt x="930" y="1901"/>
                </a:lnTo>
                <a:lnTo>
                  <a:pt x="903" y="1916"/>
                </a:lnTo>
                <a:lnTo>
                  <a:pt x="874" y="1930"/>
                </a:lnTo>
                <a:lnTo>
                  <a:pt x="845" y="1942"/>
                </a:lnTo>
                <a:lnTo>
                  <a:pt x="815" y="1953"/>
                </a:lnTo>
                <a:lnTo>
                  <a:pt x="784" y="1963"/>
                </a:lnTo>
                <a:lnTo>
                  <a:pt x="770" y="1968"/>
                </a:lnTo>
                <a:lnTo>
                  <a:pt x="754" y="1972"/>
                </a:lnTo>
                <a:lnTo>
                  <a:pt x="723" y="1979"/>
                </a:lnTo>
                <a:lnTo>
                  <a:pt x="690" y="1986"/>
                </a:lnTo>
                <a:lnTo>
                  <a:pt x="658" y="1990"/>
                </a:lnTo>
                <a:lnTo>
                  <a:pt x="641" y="1993"/>
                </a:lnTo>
                <a:lnTo>
                  <a:pt x="625" y="1994"/>
                </a:lnTo>
                <a:lnTo>
                  <a:pt x="591" y="1997"/>
                </a:lnTo>
                <a:lnTo>
                  <a:pt x="575" y="1997"/>
                </a:lnTo>
                <a:lnTo>
                  <a:pt x="558" y="1997"/>
                </a:lnTo>
                <a:lnTo>
                  <a:pt x="535" y="1997"/>
                </a:lnTo>
                <a:lnTo>
                  <a:pt x="512" y="1995"/>
                </a:lnTo>
                <a:lnTo>
                  <a:pt x="489" y="1994"/>
                </a:lnTo>
                <a:lnTo>
                  <a:pt x="466" y="1992"/>
                </a:lnTo>
                <a:lnTo>
                  <a:pt x="499" y="2012"/>
                </a:lnTo>
                <a:lnTo>
                  <a:pt x="532" y="2030"/>
                </a:lnTo>
                <a:lnTo>
                  <a:pt x="548" y="2039"/>
                </a:lnTo>
                <a:lnTo>
                  <a:pt x="565" y="2047"/>
                </a:lnTo>
                <a:lnTo>
                  <a:pt x="600" y="2065"/>
                </a:lnTo>
                <a:lnTo>
                  <a:pt x="635" y="2080"/>
                </a:lnTo>
                <a:lnTo>
                  <a:pt x="671" y="2094"/>
                </a:lnTo>
                <a:lnTo>
                  <a:pt x="707" y="2107"/>
                </a:lnTo>
                <a:lnTo>
                  <a:pt x="744" y="2119"/>
                </a:lnTo>
                <a:lnTo>
                  <a:pt x="781" y="2129"/>
                </a:lnTo>
                <a:lnTo>
                  <a:pt x="819" y="2138"/>
                </a:lnTo>
                <a:lnTo>
                  <a:pt x="838" y="2143"/>
                </a:lnTo>
                <a:lnTo>
                  <a:pt x="857" y="2146"/>
                </a:lnTo>
                <a:lnTo>
                  <a:pt x="876" y="2149"/>
                </a:lnTo>
                <a:lnTo>
                  <a:pt x="896" y="2153"/>
                </a:lnTo>
                <a:lnTo>
                  <a:pt x="916" y="2155"/>
                </a:lnTo>
                <a:lnTo>
                  <a:pt x="935" y="2158"/>
                </a:lnTo>
                <a:lnTo>
                  <a:pt x="975" y="2161"/>
                </a:lnTo>
                <a:lnTo>
                  <a:pt x="995" y="2162"/>
                </a:lnTo>
                <a:lnTo>
                  <a:pt x="1015" y="2164"/>
                </a:lnTo>
                <a:lnTo>
                  <a:pt x="1036" y="2164"/>
                </a:lnTo>
                <a:lnTo>
                  <a:pt x="1055" y="2164"/>
                </a:lnTo>
                <a:close/>
                <a:moveTo>
                  <a:pt x="0" y="0"/>
                </a:moveTo>
                <a:lnTo>
                  <a:pt x="702" y="0"/>
                </a:lnTo>
                <a:lnTo>
                  <a:pt x="1403" y="0"/>
                </a:lnTo>
                <a:lnTo>
                  <a:pt x="2105" y="0"/>
                </a:lnTo>
                <a:lnTo>
                  <a:pt x="2806" y="0"/>
                </a:lnTo>
                <a:lnTo>
                  <a:pt x="2806" y="701"/>
                </a:lnTo>
                <a:lnTo>
                  <a:pt x="2806" y="1403"/>
                </a:lnTo>
                <a:lnTo>
                  <a:pt x="2806" y="2104"/>
                </a:lnTo>
                <a:lnTo>
                  <a:pt x="2806" y="2806"/>
                </a:lnTo>
                <a:lnTo>
                  <a:pt x="2105" y="2806"/>
                </a:lnTo>
                <a:lnTo>
                  <a:pt x="1403" y="2806"/>
                </a:lnTo>
                <a:lnTo>
                  <a:pt x="702" y="2806"/>
                </a:lnTo>
                <a:lnTo>
                  <a:pt x="0" y="2806"/>
                </a:lnTo>
                <a:lnTo>
                  <a:pt x="0" y="2104"/>
                </a:lnTo>
                <a:lnTo>
                  <a:pt x="0" y="1403"/>
                </a:lnTo>
                <a:lnTo>
                  <a:pt x="0" y="701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0201" tIns="40100" rIns="80201" bIns="40100" numCol="1" anchor="t" anchorCtr="0" compatLnSpc="1">
            <a:prstTxWarp prst="textNoShape">
              <a:avLst/>
            </a:prstTxWarp>
          </a:bodyPr>
          <a:lstStyle/>
          <a:p>
            <a:endParaRPr lang="en-GB" sz="1579"/>
          </a:p>
        </p:txBody>
      </p:sp>
      <p:sp>
        <p:nvSpPr>
          <p:cNvPr id="8" name="Freeform 8">
            <a:hlinkClick r:id="rId3" tooltip="Facebook"/>
          </p:cNvPr>
          <p:cNvSpPr>
            <a:spLocks noChangeAspect="1" noEditPoints="1"/>
          </p:cNvSpPr>
          <p:nvPr/>
        </p:nvSpPr>
        <p:spPr bwMode="auto">
          <a:xfrm>
            <a:off x="4588387" y="684481"/>
            <a:ext cx="253051" cy="317600"/>
          </a:xfrm>
          <a:custGeom>
            <a:avLst/>
            <a:gdLst>
              <a:gd name="T0" fmla="*/ 1541 w 2807"/>
              <a:gd name="T1" fmla="*/ 2287 h 2806"/>
              <a:gd name="T2" fmla="*/ 1541 w 2807"/>
              <a:gd name="T3" fmla="*/ 1481 h 2806"/>
              <a:gd name="T4" fmla="*/ 1812 w 2807"/>
              <a:gd name="T5" fmla="*/ 1481 h 2806"/>
              <a:gd name="T6" fmla="*/ 1853 w 2807"/>
              <a:gd name="T7" fmla="*/ 1166 h 2806"/>
              <a:gd name="T8" fmla="*/ 1541 w 2807"/>
              <a:gd name="T9" fmla="*/ 1166 h 2806"/>
              <a:gd name="T10" fmla="*/ 1541 w 2807"/>
              <a:gd name="T11" fmla="*/ 965 h 2806"/>
              <a:gd name="T12" fmla="*/ 1542 w 2807"/>
              <a:gd name="T13" fmla="*/ 933 h 2806"/>
              <a:gd name="T14" fmla="*/ 1547 w 2807"/>
              <a:gd name="T15" fmla="*/ 903 h 2806"/>
              <a:gd name="T16" fmla="*/ 1556 w 2807"/>
              <a:gd name="T17" fmla="*/ 877 h 2806"/>
              <a:gd name="T18" fmla="*/ 1569 w 2807"/>
              <a:gd name="T19" fmla="*/ 855 h 2806"/>
              <a:gd name="T20" fmla="*/ 1590 w 2807"/>
              <a:gd name="T21" fmla="*/ 837 h 2806"/>
              <a:gd name="T22" fmla="*/ 1618 w 2807"/>
              <a:gd name="T23" fmla="*/ 824 h 2806"/>
              <a:gd name="T24" fmla="*/ 1652 w 2807"/>
              <a:gd name="T25" fmla="*/ 815 h 2806"/>
              <a:gd name="T26" fmla="*/ 1673 w 2807"/>
              <a:gd name="T27" fmla="*/ 813 h 2806"/>
              <a:gd name="T28" fmla="*/ 1697 w 2807"/>
              <a:gd name="T29" fmla="*/ 813 h 2806"/>
              <a:gd name="T30" fmla="*/ 1862 w 2807"/>
              <a:gd name="T31" fmla="*/ 813 h 2806"/>
              <a:gd name="T32" fmla="*/ 1862 w 2807"/>
              <a:gd name="T33" fmla="*/ 530 h 2806"/>
              <a:gd name="T34" fmla="*/ 1773 w 2807"/>
              <a:gd name="T35" fmla="*/ 523 h 2806"/>
              <a:gd name="T36" fmla="*/ 1703 w 2807"/>
              <a:gd name="T37" fmla="*/ 521 h 2806"/>
              <a:gd name="T38" fmla="*/ 1620 w 2807"/>
              <a:gd name="T39" fmla="*/ 518 h 2806"/>
              <a:gd name="T40" fmla="*/ 1577 w 2807"/>
              <a:gd name="T41" fmla="*/ 521 h 2806"/>
              <a:gd name="T42" fmla="*/ 1535 w 2807"/>
              <a:gd name="T43" fmla="*/ 526 h 2806"/>
              <a:gd name="T44" fmla="*/ 1494 w 2807"/>
              <a:gd name="T45" fmla="*/ 534 h 2806"/>
              <a:gd name="T46" fmla="*/ 1455 w 2807"/>
              <a:gd name="T47" fmla="*/ 545 h 2806"/>
              <a:gd name="T48" fmla="*/ 1420 w 2807"/>
              <a:gd name="T49" fmla="*/ 560 h 2806"/>
              <a:gd name="T50" fmla="*/ 1387 w 2807"/>
              <a:gd name="T51" fmla="*/ 579 h 2806"/>
              <a:gd name="T52" fmla="*/ 1356 w 2807"/>
              <a:gd name="T53" fmla="*/ 601 h 2806"/>
              <a:gd name="T54" fmla="*/ 1328 w 2807"/>
              <a:gd name="T55" fmla="*/ 626 h 2806"/>
              <a:gd name="T56" fmla="*/ 1303 w 2807"/>
              <a:gd name="T57" fmla="*/ 653 h 2806"/>
              <a:gd name="T58" fmla="*/ 1281 w 2807"/>
              <a:gd name="T59" fmla="*/ 684 h 2806"/>
              <a:gd name="T60" fmla="*/ 1261 w 2807"/>
              <a:gd name="T61" fmla="*/ 719 h 2806"/>
              <a:gd name="T62" fmla="*/ 1245 w 2807"/>
              <a:gd name="T63" fmla="*/ 756 h 2806"/>
              <a:gd name="T64" fmla="*/ 1233 w 2807"/>
              <a:gd name="T65" fmla="*/ 796 h 2806"/>
              <a:gd name="T66" fmla="*/ 1224 w 2807"/>
              <a:gd name="T67" fmla="*/ 839 h 2806"/>
              <a:gd name="T68" fmla="*/ 1218 w 2807"/>
              <a:gd name="T69" fmla="*/ 886 h 2806"/>
              <a:gd name="T70" fmla="*/ 1215 w 2807"/>
              <a:gd name="T71" fmla="*/ 934 h 2806"/>
              <a:gd name="T72" fmla="*/ 1215 w 2807"/>
              <a:gd name="T73" fmla="*/ 1166 h 2806"/>
              <a:gd name="T74" fmla="*/ 944 w 2807"/>
              <a:gd name="T75" fmla="*/ 1166 h 2806"/>
              <a:gd name="T76" fmla="*/ 944 w 2807"/>
              <a:gd name="T77" fmla="*/ 1481 h 2806"/>
              <a:gd name="T78" fmla="*/ 1215 w 2807"/>
              <a:gd name="T79" fmla="*/ 1481 h 2806"/>
              <a:gd name="T80" fmla="*/ 1215 w 2807"/>
              <a:gd name="T81" fmla="*/ 2287 h 2806"/>
              <a:gd name="T82" fmla="*/ 1541 w 2807"/>
              <a:gd name="T83" fmla="*/ 2287 h 2806"/>
              <a:gd name="T84" fmla="*/ 0 w 2807"/>
              <a:gd name="T85" fmla="*/ 0 h 2806"/>
              <a:gd name="T86" fmla="*/ 702 w 2807"/>
              <a:gd name="T87" fmla="*/ 0 h 2806"/>
              <a:gd name="T88" fmla="*/ 1403 w 2807"/>
              <a:gd name="T89" fmla="*/ 0 h 2806"/>
              <a:gd name="T90" fmla="*/ 2105 w 2807"/>
              <a:gd name="T91" fmla="*/ 0 h 2806"/>
              <a:gd name="T92" fmla="*/ 2807 w 2807"/>
              <a:gd name="T93" fmla="*/ 0 h 2806"/>
              <a:gd name="T94" fmla="*/ 2807 w 2807"/>
              <a:gd name="T95" fmla="*/ 701 h 2806"/>
              <a:gd name="T96" fmla="*/ 2807 w 2807"/>
              <a:gd name="T97" fmla="*/ 1403 h 2806"/>
              <a:gd name="T98" fmla="*/ 2807 w 2807"/>
              <a:gd name="T99" fmla="*/ 2104 h 2806"/>
              <a:gd name="T100" fmla="*/ 2807 w 2807"/>
              <a:gd name="T101" fmla="*/ 2806 h 2806"/>
              <a:gd name="T102" fmla="*/ 2105 w 2807"/>
              <a:gd name="T103" fmla="*/ 2806 h 2806"/>
              <a:gd name="T104" fmla="*/ 1403 w 2807"/>
              <a:gd name="T105" fmla="*/ 2806 h 2806"/>
              <a:gd name="T106" fmla="*/ 702 w 2807"/>
              <a:gd name="T107" fmla="*/ 2806 h 2806"/>
              <a:gd name="T108" fmla="*/ 0 w 2807"/>
              <a:gd name="T109" fmla="*/ 2806 h 2806"/>
              <a:gd name="T110" fmla="*/ 0 w 2807"/>
              <a:gd name="T111" fmla="*/ 2104 h 2806"/>
              <a:gd name="T112" fmla="*/ 0 w 2807"/>
              <a:gd name="T113" fmla="*/ 1403 h 2806"/>
              <a:gd name="T114" fmla="*/ 0 w 2807"/>
              <a:gd name="T115" fmla="*/ 701 h 2806"/>
              <a:gd name="T116" fmla="*/ 0 w 2807"/>
              <a:gd name="T117" fmla="*/ 0 h 28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807" h="2806">
                <a:moveTo>
                  <a:pt x="1541" y="2287"/>
                </a:moveTo>
                <a:lnTo>
                  <a:pt x="1541" y="1481"/>
                </a:lnTo>
                <a:lnTo>
                  <a:pt x="1812" y="1481"/>
                </a:lnTo>
                <a:lnTo>
                  <a:pt x="1853" y="1166"/>
                </a:lnTo>
                <a:lnTo>
                  <a:pt x="1541" y="1166"/>
                </a:lnTo>
                <a:lnTo>
                  <a:pt x="1541" y="965"/>
                </a:lnTo>
                <a:lnTo>
                  <a:pt x="1542" y="933"/>
                </a:lnTo>
                <a:lnTo>
                  <a:pt x="1547" y="903"/>
                </a:lnTo>
                <a:lnTo>
                  <a:pt x="1556" y="877"/>
                </a:lnTo>
                <a:lnTo>
                  <a:pt x="1569" y="855"/>
                </a:lnTo>
                <a:lnTo>
                  <a:pt x="1590" y="837"/>
                </a:lnTo>
                <a:lnTo>
                  <a:pt x="1618" y="824"/>
                </a:lnTo>
                <a:lnTo>
                  <a:pt x="1652" y="815"/>
                </a:lnTo>
                <a:lnTo>
                  <a:pt x="1673" y="813"/>
                </a:lnTo>
                <a:lnTo>
                  <a:pt x="1697" y="813"/>
                </a:lnTo>
                <a:lnTo>
                  <a:pt x="1862" y="813"/>
                </a:lnTo>
                <a:lnTo>
                  <a:pt x="1862" y="530"/>
                </a:lnTo>
                <a:lnTo>
                  <a:pt x="1773" y="523"/>
                </a:lnTo>
                <a:lnTo>
                  <a:pt x="1703" y="521"/>
                </a:lnTo>
                <a:lnTo>
                  <a:pt x="1620" y="518"/>
                </a:lnTo>
                <a:lnTo>
                  <a:pt x="1577" y="521"/>
                </a:lnTo>
                <a:lnTo>
                  <a:pt x="1535" y="526"/>
                </a:lnTo>
                <a:lnTo>
                  <a:pt x="1494" y="534"/>
                </a:lnTo>
                <a:lnTo>
                  <a:pt x="1455" y="545"/>
                </a:lnTo>
                <a:lnTo>
                  <a:pt x="1420" y="560"/>
                </a:lnTo>
                <a:lnTo>
                  <a:pt x="1387" y="579"/>
                </a:lnTo>
                <a:lnTo>
                  <a:pt x="1356" y="601"/>
                </a:lnTo>
                <a:lnTo>
                  <a:pt x="1328" y="626"/>
                </a:lnTo>
                <a:lnTo>
                  <a:pt x="1303" y="653"/>
                </a:lnTo>
                <a:lnTo>
                  <a:pt x="1281" y="684"/>
                </a:lnTo>
                <a:lnTo>
                  <a:pt x="1261" y="719"/>
                </a:lnTo>
                <a:lnTo>
                  <a:pt x="1245" y="756"/>
                </a:lnTo>
                <a:lnTo>
                  <a:pt x="1233" y="796"/>
                </a:lnTo>
                <a:lnTo>
                  <a:pt x="1224" y="839"/>
                </a:lnTo>
                <a:lnTo>
                  <a:pt x="1218" y="886"/>
                </a:lnTo>
                <a:lnTo>
                  <a:pt x="1215" y="934"/>
                </a:lnTo>
                <a:lnTo>
                  <a:pt x="1215" y="1166"/>
                </a:lnTo>
                <a:lnTo>
                  <a:pt x="944" y="1166"/>
                </a:lnTo>
                <a:lnTo>
                  <a:pt x="944" y="1481"/>
                </a:lnTo>
                <a:lnTo>
                  <a:pt x="1215" y="1481"/>
                </a:lnTo>
                <a:lnTo>
                  <a:pt x="1215" y="2287"/>
                </a:lnTo>
                <a:lnTo>
                  <a:pt x="1541" y="2287"/>
                </a:lnTo>
                <a:close/>
                <a:moveTo>
                  <a:pt x="0" y="0"/>
                </a:moveTo>
                <a:lnTo>
                  <a:pt x="702" y="0"/>
                </a:lnTo>
                <a:lnTo>
                  <a:pt x="1403" y="0"/>
                </a:lnTo>
                <a:lnTo>
                  <a:pt x="2105" y="0"/>
                </a:lnTo>
                <a:lnTo>
                  <a:pt x="2807" y="0"/>
                </a:lnTo>
                <a:lnTo>
                  <a:pt x="2807" y="701"/>
                </a:lnTo>
                <a:lnTo>
                  <a:pt x="2807" y="1403"/>
                </a:lnTo>
                <a:lnTo>
                  <a:pt x="2807" y="2104"/>
                </a:lnTo>
                <a:lnTo>
                  <a:pt x="2807" y="2806"/>
                </a:lnTo>
                <a:lnTo>
                  <a:pt x="2105" y="2806"/>
                </a:lnTo>
                <a:lnTo>
                  <a:pt x="1403" y="2806"/>
                </a:lnTo>
                <a:lnTo>
                  <a:pt x="702" y="2806"/>
                </a:lnTo>
                <a:lnTo>
                  <a:pt x="0" y="2806"/>
                </a:lnTo>
                <a:lnTo>
                  <a:pt x="0" y="2104"/>
                </a:lnTo>
                <a:lnTo>
                  <a:pt x="0" y="1403"/>
                </a:lnTo>
                <a:lnTo>
                  <a:pt x="0" y="701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0201" tIns="40100" rIns="80201" bIns="40100" numCol="1" anchor="t" anchorCtr="0" compatLnSpc="1">
            <a:prstTxWarp prst="textNoShape">
              <a:avLst/>
            </a:prstTxWarp>
          </a:bodyPr>
          <a:lstStyle/>
          <a:p>
            <a:endParaRPr lang="en-GB" sz="1579"/>
          </a:p>
        </p:txBody>
      </p:sp>
      <p:sp>
        <p:nvSpPr>
          <p:cNvPr id="9" name="Freeform 10">
            <a:hlinkClick r:id="rId4" tooltip="YouTube"/>
          </p:cNvPr>
          <p:cNvSpPr>
            <a:spLocks noChangeAspect="1" noEditPoints="1"/>
          </p:cNvSpPr>
          <p:nvPr/>
        </p:nvSpPr>
        <p:spPr bwMode="auto">
          <a:xfrm>
            <a:off x="5536199" y="684481"/>
            <a:ext cx="252600" cy="317600"/>
          </a:xfrm>
          <a:custGeom>
            <a:avLst/>
            <a:gdLst>
              <a:gd name="T0" fmla="*/ 793 w 2804"/>
              <a:gd name="T1" fmla="*/ 1276 h 2806"/>
              <a:gd name="T2" fmla="*/ 704 w 2804"/>
              <a:gd name="T3" fmla="*/ 1239 h 2806"/>
              <a:gd name="T4" fmla="*/ 605 w 2804"/>
              <a:gd name="T5" fmla="*/ 1291 h 2806"/>
              <a:gd name="T6" fmla="*/ 587 w 2804"/>
              <a:gd name="T7" fmla="*/ 1595 h 2806"/>
              <a:gd name="T8" fmla="*/ 645 w 2804"/>
              <a:gd name="T9" fmla="*/ 1683 h 2806"/>
              <a:gd name="T10" fmla="*/ 749 w 2804"/>
              <a:gd name="T11" fmla="*/ 1688 h 2806"/>
              <a:gd name="T12" fmla="*/ 814 w 2804"/>
              <a:gd name="T13" fmla="*/ 1621 h 2806"/>
              <a:gd name="T14" fmla="*/ 738 w 2804"/>
              <a:gd name="T15" fmla="*/ 1591 h 2806"/>
              <a:gd name="T16" fmla="*/ 704 w 2804"/>
              <a:gd name="T17" fmla="*/ 1623 h 2806"/>
              <a:gd name="T18" fmla="*/ 668 w 2804"/>
              <a:gd name="T19" fmla="*/ 1579 h 2806"/>
              <a:gd name="T20" fmla="*/ 676 w 2804"/>
              <a:gd name="T21" fmla="*/ 1326 h 2806"/>
              <a:gd name="T22" fmla="*/ 725 w 2804"/>
              <a:gd name="T23" fmla="*/ 1320 h 2806"/>
              <a:gd name="T24" fmla="*/ 491 w 2804"/>
              <a:gd name="T25" fmla="*/ 1690 h 2806"/>
              <a:gd name="T26" fmla="*/ 491 w 2804"/>
              <a:gd name="T27" fmla="*/ 1447 h 2806"/>
              <a:gd name="T28" fmla="*/ 959 w 2804"/>
              <a:gd name="T29" fmla="*/ 1695 h 2806"/>
              <a:gd name="T30" fmla="*/ 894 w 2804"/>
              <a:gd name="T31" fmla="*/ 1662 h 2806"/>
              <a:gd name="T32" fmla="*/ 972 w 2804"/>
              <a:gd name="T33" fmla="*/ 1614 h 2806"/>
              <a:gd name="T34" fmla="*/ 1017 w 2804"/>
              <a:gd name="T35" fmla="*/ 1607 h 2806"/>
              <a:gd name="T36" fmla="*/ 1956 w 2804"/>
              <a:gd name="T37" fmla="*/ 1325 h 2806"/>
              <a:gd name="T38" fmla="*/ 1995 w 2804"/>
              <a:gd name="T39" fmla="*/ 1622 h 2806"/>
              <a:gd name="T40" fmla="*/ 2020 w 2804"/>
              <a:gd name="T41" fmla="*/ 1371 h 2806"/>
              <a:gd name="T42" fmla="*/ 1987 w 2804"/>
              <a:gd name="T43" fmla="*/ 1313 h 2806"/>
              <a:gd name="T44" fmla="*/ 2293 w 2804"/>
              <a:gd name="T45" fmla="*/ 1314 h 2806"/>
              <a:gd name="T46" fmla="*/ 2246 w 2804"/>
              <a:gd name="T47" fmla="*/ 1331 h 2806"/>
              <a:gd name="T48" fmla="*/ 2488 w 2804"/>
              <a:gd name="T49" fmla="*/ 1089 h 2806"/>
              <a:gd name="T50" fmla="*/ 2427 w 2804"/>
              <a:gd name="T51" fmla="*/ 991 h 2806"/>
              <a:gd name="T52" fmla="*/ 2315 w 2804"/>
              <a:gd name="T53" fmla="*/ 953 h 2806"/>
              <a:gd name="T54" fmla="*/ 1461 w 2804"/>
              <a:gd name="T55" fmla="*/ 948 h 2806"/>
              <a:gd name="T56" fmla="*/ 1274 w 2804"/>
              <a:gd name="T57" fmla="*/ 991 h 2806"/>
              <a:gd name="T58" fmla="*/ 1205 w 2804"/>
              <a:gd name="T59" fmla="*/ 1125 h 2806"/>
              <a:gd name="T60" fmla="*/ 1192 w 2804"/>
              <a:gd name="T61" fmla="*/ 1568 h 2806"/>
              <a:gd name="T62" fmla="*/ 1229 w 2804"/>
              <a:gd name="T63" fmla="*/ 1760 h 2806"/>
              <a:gd name="T64" fmla="*/ 1336 w 2804"/>
              <a:gd name="T65" fmla="*/ 1842 h 2806"/>
              <a:gd name="T66" fmla="*/ 1851 w 2804"/>
              <a:gd name="T67" fmla="*/ 1867 h 2806"/>
              <a:gd name="T68" fmla="*/ 2371 w 2804"/>
              <a:gd name="T69" fmla="*/ 1844 h 2806"/>
              <a:gd name="T70" fmla="*/ 2472 w 2804"/>
              <a:gd name="T71" fmla="*/ 1760 h 2806"/>
              <a:gd name="T72" fmla="*/ 2512 w 2804"/>
              <a:gd name="T73" fmla="*/ 1492 h 2806"/>
              <a:gd name="T74" fmla="*/ 1390 w 2804"/>
              <a:gd name="T75" fmla="*/ 1690 h 2806"/>
              <a:gd name="T76" fmla="*/ 1702 w 2804"/>
              <a:gd name="T77" fmla="*/ 1654 h 2806"/>
              <a:gd name="T78" fmla="*/ 1604 w 2804"/>
              <a:gd name="T79" fmla="*/ 1693 h 2806"/>
              <a:gd name="T80" fmla="*/ 1565 w 2804"/>
              <a:gd name="T81" fmla="*/ 1627 h 2806"/>
              <a:gd name="T82" fmla="*/ 1659 w 2804"/>
              <a:gd name="T83" fmla="*/ 1622 h 2806"/>
              <a:gd name="T84" fmla="*/ 1799 w 2804"/>
              <a:gd name="T85" fmla="*/ 1246 h 2806"/>
              <a:gd name="T86" fmla="*/ 2086 w 2804"/>
              <a:gd name="T87" fmla="*/ 1667 h 2806"/>
              <a:gd name="T88" fmla="*/ 2003 w 2804"/>
              <a:gd name="T89" fmla="*/ 1690 h 2806"/>
              <a:gd name="T90" fmla="*/ 1945 w 2804"/>
              <a:gd name="T91" fmla="*/ 1095 h 2806"/>
              <a:gd name="T92" fmla="*/ 2030 w 2804"/>
              <a:gd name="T93" fmla="*/ 1240 h 2806"/>
              <a:gd name="T94" fmla="*/ 2089 w 2804"/>
              <a:gd name="T95" fmla="*/ 1279 h 2806"/>
              <a:gd name="T96" fmla="*/ 2295 w 2804"/>
              <a:gd name="T97" fmla="*/ 1621 h 2806"/>
              <a:gd name="T98" fmla="*/ 2401 w 2804"/>
              <a:gd name="T99" fmla="*/ 1534 h 2806"/>
              <a:gd name="T100" fmla="*/ 2371 w 2804"/>
              <a:gd name="T101" fmla="*/ 1659 h 2806"/>
              <a:gd name="T102" fmla="*/ 2284 w 2804"/>
              <a:gd name="T103" fmla="*/ 1695 h 2806"/>
              <a:gd name="T104" fmla="*/ 2180 w 2804"/>
              <a:gd name="T105" fmla="*/ 1641 h 2806"/>
              <a:gd name="T106" fmla="*/ 2160 w 2804"/>
              <a:gd name="T107" fmla="*/ 1359 h 2806"/>
              <a:gd name="T108" fmla="*/ 2227 w 2804"/>
              <a:gd name="T109" fmla="*/ 1252 h 2806"/>
              <a:gd name="T110" fmla="*/ 2323 w 2804"/>
              <a:gd name="T111" fmla="*/ 1246 h 2806"/>
              <a:gd name="T112" fmla="*/ 2386 w 2804"/>
              <a:gd name="T113" fmla="*/ 1305 h 2806"/>
              <a:gd name="T114" fmla="*/ 2243 w 2804"/>
              <a:gd name="T115" fmla="*/ 1575 h 2806"/>
              <a:gd name="T116" fmla="*/ 0 w 2804"/>
              <a:gd name="T117" fmla="*/ 0 h 2806"/>
              <a:gd name="T118" fmla="*/ 700 w 2804"/>
              <a:gd name="T119" fmla="*/ 2806 h 28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804" h="2806">
                <a:moveTo>
                  <a:pt x="824" y="1388"/>
                </a:moveTo>
                <a:lnTo>
                  <a:pt x="822" y="1371"/>
                </a:lnTo>
                <a:lnTo>
                  <a:pt x="821" y="1355"/>
                </a:lnTo>
                <a:lnTo>
                  <a:pt x="819" y="1340"/>
                </a:lnTo>
                <a:lnTo>
                  <a:pt x="816" y="1325"/>
                </a:lnTo>
                <a:lnTo>
                  <a:pt x="813" y="1313"/>
                </a:lnTo>
                <a:lnTo>
                  <a:pt x="810" y="1307"/>
                </a:lnTo>
                <a:lnTo>
                  <a:pt x="808" y="1302"/>
                </a:lnTo>
                <a:lnTo>
                  <a:pt x="803" y="1291"/>
                </a:lnTo>
                <a:lnTo>
                  <a:pt x="796" y="1282"/>
                </a:lnTo>
                <a:lnTo>
                  <a:pt x="793" y="1276"/>
                </a:lnTo>
                <a:lnTo>
                  <a:pt x="788" y="1271"/>
                </a:lnTo>
                <a:lnTo>
                  <a:pt x="783" y="1267"/>
                </a:lnTo>
                <a:lnTo>
                  <a:pt x="778" y="1262"/>
                </a:lnTo>
                <a:lnTo>
                  <a:pt x="772" y="1258"/>
                </a:lnTo>
                <a:lnTo>
                  <a:pt x="767" y="1255"/>
                </a:lnTo>
                <a:lnTo>
                  <a:pt x="761" y="1251"/>
                </a:lnTo>
                <a:lnTo>
                  <a:pt x="754" y="1249"/>
                </a:lnTo>
                <a:lnTo>
                  <a:pt x="743" y="1245"/>
                </a:lnTo>
                <a:lnTo>
                  <a:pt x="730" y="1241"/>
                </a:lnTo>
                <a:lnTo>
                  <a:pt x="717" y="1240"/>
                </a:lnTo>
                <a:lnTo>
                  <a:pt x="704" y="1239"/>
                </a:lnTo>
                <a:lnTo>
                  <a:pt x="689" y="1240"/>
                </a:lnTo>
                <a:lnTo>
                  <a:pt x="681" y="1240"/>
                </a:lnTo>
                <a:lnTo>
                  <a:pt x="675" y="1241"/>
                </a:lnTo>
                <a:lnTo>
                  <a:pt x="663" y="1245"/>
                </a:lnTo>
                <a:lnTo>
                  <a:pt x="650" y="1249"/>
                </a:lnTo>
                <a:lnTo>
                  <a:pt x="639" y="1255"/>
                </a:lnTo>
                <a:lnTo>
                  <a:pt x="634" y="1258"/>
                </a:lnTo>
                <a:lnTo>
                  <a:pt x="628" y="1262"/>
                </a:lnTo>
                <a:lnTo>
                  <a:pt x="619" y="1271"/>
                </a:lnTo>
                <a:lnTo>
                  <a:pt x="611" y="1282"/>
                </a:lnTo>
                <a:lnTo>
                  <a:pt x="605" y="1291"/>
                </a:lnTo>
                <a:lnTo>
                  <a:pt x="598" y="1302"/>
                </a:lnTo>
                <a:lnTo>
                  <a:pt x="595" y="1313"/>
                </a:lnTo>
                <a:lnTo>
                  <a:pt x="591" y="1325"/>
                </a:lnTo>
                <a:lnTo>
                  <a:pt x="587" y="1340"/>
                </a:lnTo>
                <a:lnTo>
                  <a:pt x="586" y="1355"/>
                </a:lnTo>
                <a:lnTo>
                  <a:pt x="585" y="1371"/>
                </a:lnTo>
                <a:lnTo>
                  <a:pt x="584" y="1388"/>
                </a:lnTo>
                <a:lnTo>
                  <a:pt x="584" y="1548"/>
                </a:lnTo>
                <a:lnTo>
                  <a:pt x="584" y="1565"/>
                </a:lnTo>
                <a:lnTo>
                  <a:pt x="585" y="1581"/>
                </a:lnTo>
                <a:lnTo>
                  <a:pt x="587" y="1595"/>
                </a:lnTo>
                <a:lnTo>
                  <a:pt x="590" y="1609"/>
                </a:lnTo>
                <a:lnTo>
                  <a:pt x="592" y="1615"/>
                </a:lnTo>
                <a:lnTo>
                  <a:pt x="594" y="1621"/>
                </a:lnTo>
                <a:lnTo>
                  <a:pt x="598" y="1632"/>
                </a:lnTo>
                <a:lnTo>
                  <a:pt x="603" y="1642"/>
                </a:lnTo>
                <a:lnTo>
                  <a:pt x="610" y="1651"/>
                </a:lnTo>
                <a:lnTo>
                  <a:pt x="618" y="1662"/>
                </a:lnTo>
                <a:lnTo>
                  <a:pt x="623" y="1667"/>
                </a:lnTo>
                <a:lnTo>
                  <a:pt x="628" y="1670"/>
                </a:lnTo>
                <a:lnTo>
                  <a:pt x="639" y="1679"/>
                </a:lnTo>
                <a:lnTo>
                  <a:pt x="645" y="1683"/>
                </a:lnTo>
                <a:lnTo>
                  <a:pt x="652" y="1685"/>
                </a:lnTo>
                <a:lnTo>
                  <a:pt x="664" y="1690"/>
                </a:lnTo>
                <a:lnTo>
                  <a:pt x="676" y="1694"/>
                </a:lnTo>
                <a:lnTo>
                  <a:pt x="684" y="1695"/>
                </a:lnTo>
                <a:lnTo>
                  <a:pt x="690" y="1696"/>
                </a:lnTo>
                <a:lnTo>
                  <a:pt x="696" y="1698"/>
                </a:lnTo>
                <a:lnTo>
                  <a:pt x="704" y="1698"/>
                </a:lnTo>
                <a:lnTo>
                  <a:pt x="717" y="1696"/>
                </a:lnTo>
                <a:lnTo>
                  <a:pt x="730" y="1694"/>
                </a:lnTo>
                <a:lnTo>
                  <a:pt x="743" y="1690"/>
                </a:lnTo>
                <a:lnTo>
                  <a:pt x="749" y="1688"/>
                </a:lnTo>
                <a:lnTo>
                  <a:pt x="756" y="1685"/>
                </a:lnTo>
                <a:lnTo>
                  <a:pt x="768" y="1679"/>
                </a:lnTo>
                <a:lnTo>
                  <a:pt x="774" y="1675"/>
                </a:lnTo>
                <a:lnTo>
                  <a:pt x="779" y="1670"/>
                </a:lnTo>
                <a:lnTo>
                  <a:pt x="784" y="1667"/>
                </a:lnTo>
                <a:lnTo>
                  <a:pt x="789" y="1662"/>
                </a:lnTo>
                <a:lnTo>
                  <a:pt x="794" y="1657"/>
                </a:lnTo>
                <a:lnTo>
                  <a:pt x="799" y="1651"/>
                </a:lnTo>
                <a:lnTo>
                  <a:pt x="804" y="1642"/>
                </a:lnTo>
                <a:lnTo>
                  <a:pt x="810" y="1632"/>
                </a:lnTo>
                <a:lnTo>
                  <a:pt x="814" y="1621"/>
                </a:lnTo>
                <a:lnTo>
                  <a:pt x="817" y="1609"/>
                </a:lnTo>
                <a:lnTo>
                  <a:pt x="820" y="1595"/>
                </a:lnTo>
                <a:lnTo>
                  <a:pt x="821" y="1581"/>
                </a:lnTo>
                <a:lnTo>
                  <a:pt x="822" y="1565"/>
                </a:lnTo>
                <a:lnTo>
                  <a:pt x="824" y="1548"/>
                </a:lnTo>
                <a:lnTo>
                  <a:pt x="824" y="1388"/>
                </a:lnTo>
                <a:close/>
                <a:moveTo>
                  <a:pt x="740" y="1557"/>
                </a:moveTo>
                <a:lnTo>
                  <a:pt x="740" y="1573"/>
                </a:lnTo>
                <a:lnTo>
                  <a:pt x="740" y="1579"/>
                </a:lnTo>
                <a:lnTo>
                  <a:pt x="740" y="1586"/>
                </a:lnTo>
                <a:lnTo>
                  <a:pt x="738" y="1591"/>
                </a:lnTo>
                <a:lnTo>
                  <a:pt x="737" y="1597"/>
                </a:lnTo>
                <a:lnTo>
                  <a:pt x="735" y="1602"/>
                </a:lnTo>
                <a:lnTo>
                  <a:pt x="732" y="1606"/>
                </a:lnTo>
                <a:lnTo>
                  <a:pt x="730" y="1610"/>
                </a:lnTo>
                <a:lnTo>
                  <a:pt x="727" y="1614"/>
                </a:lnTo>
                <a:lnTo>
                  <a:pt x="725" y="1617"/>
                </a:lnTo>
                <a:lnTo>
                  <a:pt x="721" y="1618"/>
                </a:lnTo>
                <a:lnTo>
                  <a:pt x="717" y="1621"/>
                </a:lnTo>
                <a:lnTo>
                  <a:pt x="712" y="1622"/>
                </a:lnTo>
                <a:lnTo>
                  <a:pt x="709" y="1623"/>
                </a:lnTo>
                <a:lnTo>
                  <a:pt x="704" y="1623"/>
                </a:lnTo>
                <a:lnTo>
                  <a:pt x="699" y="1623"/>
                </a:lnTo>
                <a:lnTo>
                  <a:pt x="694" y="1622"/>
                </a:lnTo>
                <a:lnTo>
                  <a:pt x="690" y="1621"/>
                </a:lnTo>
                <a:lnTo>
                  <a:pt x="686" y="1618"/>
                </a:lnTo>
                <a:lnTo>
                  <a:pt x="683" y="1617"/>
                </a:lnTo>
                <a:lnTo>
                  <a:pt x="680" y="1614"/>
                </a:lnTo>
                <a:lnTo>
                  <a:pt x="676" y="1610"/>
                </a:lnTo>
                <a:lnTo>
                  <a:pt x="674" y="1606"/>
                </a:lnTo>
                <a:lnTo>
                  <a:pt x="670" y="1597"/>
                </a:lnTo>
                <a:lnTo>
                  <a:pt x="668" y="1586"/>
                </a:lnTo>
                <a:lnTo>
                  <a:pt x="668" y="1579"/>
                </a:lnTo>
                <a:lnTo>
                  <a:pt x="668" y="1573"/>
                </a:lnTo>
                <a:lnTo>
                  <a:pt x="668" y="1557"/>
                </a:lnTo>
                <a:lnTo>
                  <a:pt x="668" y="1380"/>
                </a:lnTo>
                <a:lnTo>
                  <a:pt x="668" y="1364"/>
                </a:lnTo>
                <a:lnTo>
                  <a:pt x="668" y="1357"/>
                </a:lnTo>
                <a:lnTo>
                  <a:pt x="668" y="1350"/>
                </a:lnTo>
                <a:lnTo>
                  <a:pt x="669" y="1345"/>
                </a:lnTo>
                <a:lnTo>
                  <a:pt x="670" y="1339"/>
                </a:lnTo>
                <a:lnTo>
                  <a:pt x="673" y="1334"/>
                </a:lnTo>
                <a:lnTo>
                  <a:pt x="674" y="1330"/>
                </a:lnTo>
                <a:lnTo>
                  <a:pt x="676" y="1326"/>
                </a:lnTo>
                <a:lnTo>
                  <a:pt x="680" y="1323"/>
                </a:lnTo>
                <a:lnTo>
                  <a:pt x="683" y="1320"/>
                </a:lnTo>
                <a:lnTo>
                  <a:pt x="686" y="1318"/>
                </a:lnTo>
                <a:lnTo>
                  <a:pt x="694" y="1315"/>
                </a:lnTo>
                <a:lnTo>
                  <a:pt x="699" y="1314"/>
                </a:lnTo>
                <a:lnTo>
                  <a:pt x="704" y="1314"/>
                </a:lnTo>
                <a:lnTo>
                  <a:pt x="709" y="1314"/>
                </a:lnTo>
                <a:lnTo>
                  <a:pt x="712" y="1315"/>
                </a:lnTo>
                <a:lnTo>
                  <a:pt x="717" y="1317"/>
                </a:lnTo>
                <a:lnTo>
                  <a:pt x="721" y="1318"/>
                </a:lnTo>
                <a:lnTo>
                  <a:pt x="725" y="1320"/>
                </a:lnTo>
                <a:lnTo>
                  <a:pt x="727" y="1323"/>
                </a:lnTo>
                <a:lnTo>
                  <a:pt x="730" y="1326"/>
                </a:lnTo>
                <a:lnTo>
                  <a:pt x="733" y="1330"/>
                </a:lnTo>
                <a:lnTo>
                  <a:pt x="737" y="1339"/>
                </a:lnTo>
                <a:lnTo>
                  <a:pt x="740" y="1350"/>
                </a:lnTo>
                <a:lnTo>
                  <a:pt x="740" y="1357"/>
                </a:lnTo>
                <a:lnTo>
                  <a:pt x="740" y="1364"/>
                </a:lnTo>
                <a:lnTo>
                  <a:pt x="740" y="1380"/>
                </a:lnTo>
                <a:lnTo>
                  <a:pt x="740" y="1557"/>
                </a:lnTo>
                <a:close/>
                <a:moveTo>
                  <a:pt x="491" y="1447"/>
                </a:moveTo>
                <a:lnTo>
                  <a:pt x="491" y="1690"/>
                </a:lnTo>
                <a:lnTo>
                  <a:pt x="402" y="1690"/>
                </a:lnTo>
                <a:lnTo>
                  <a:pt x="402" y="1447"/>
                </a:lnTo>
                <a:lnTo>
                  <a:pt x="353" y="1289"/>
                </a:lnTo>
                <a:lnTo>
                  <a:pt x="316" y="1171"/>
                </a:lnTo>
                <a:lnTo>
                  <a:pt x="302" y="1122"/>
                </a:lnTo>
                <a:lnTo>
                  <a:pt x="292" y="1091"/>
                </a:lnTo>
                <a:lnTo>
                  <a:pt x="384" y="1091"/>
                </a:lnTo>
                <a:lnTo>
                  <a:pt x="446" y="1325"/>
                </a:lnTo>
                <a:lnTo>
                  <a:pt x="508" y="1091"/>
                </a:lnTo>
                <a:lnTo>
                  <a:pt x="601" y="1091"/>
                </a:lnTo>
                <a:lnTo>
                  <a:pt x="491" y="1447"/>
                </a:lnTo>
                <a:close/>
                <a:moveTo>
                  <a:pt x="1121" y="1690"/>
                </a:moveTo>
                <a:lnTo>
                  <a:pt x="1036" y="1690"/>
                </a:lnTo>
                <a:lnTo>
                  <a:pt x="1036" y="1641"/>
                </a:lnTo>
                <a:lnTo>
                  <a:pt x="1024" y="1654"/>
                </a:lnTo>
                <a:lnTo>
                  <a:pt x="1013" y="1666"/>
                </a:lnTo>
                <a:lnTo>
                  <a:pt x="1002" y="1674"/>
                </a:lnTo>
                <a:lnTo>
                  <a:pt x="991" y="1683"/>
                </a:lnTo>
                <a:lnTo>
                  <a:pt x="980" y="1688"/>
                </a:lnTo>
                <a:lnTo>
                  <a:pt x="970" y="1693"/>
                </a:lnTo>
                <a:lnTo>
                  <a:pt x="963" y="1694"/>
                </a:lnTo>
                <a:lnTo>
                  <a:pt x="959" y="1695"/>
                </a:lnTo>
                <a:lnTo>
                  <a:pt x="947" y="1696"/>
                </a:lnTo>
                <a:lnTo>
                  <a:pt x="939" y="1695"/>
                </a:lnTo>
                <a:lnTo>
                  <a:pt x="930" y="1694"/>
                </a:lnTo>
                <a:lnTo>
                  <a:pt x="925" y="1693"/>
                </a:lnTo>
                <a:lnTo>
                  <a:pt x="921" y="1691"/>
                </a:lnTo>
                <a:lnTo>
                  <a:pt x="915" y="1688"/>
                </a:lnTo>
                <a:lnTo>
                  <a:pt x="909" y="1683"/>
                </a:lnTo>
                <a:lnTo>
                  <a:pt x="903" y="1677"/>
                </a:lnTo>
                <a:lnTo>
                  <a:pt x="898" y="1669"/>
                </a:lnTo>
                <a:lnTo>
                  <a:pt x="897" y="1666"/>
                </a:lnTo>
                <a:lnTo>
                  <a:pt x="894" y="1662"/>
                </a:lnTo>
                <a:lnTo>
                  <a:pt x="893" y="1657"/>
                </a:lnTo>
                <a:lnTo>
                  <a:pt x="890" y="1651"/>
                </a:lnTo>
                <a:lnTo>
                  <a:pt x="888" y="1636"/>
                </a:lnTo>
                <a:lnTo>
                  <a:pt x="887" y="1627"/>
                </a:lnTo>
                <a:lnTo>
                  <a:pt x="886" y="1618"/>
                </a:lnTo>
                <a:lnTo>
                  <a:pt x="886" y="1596"/>
                </a:lnTo>
                <a:lnTo>
                  <a:pt x="886" y="1242"/>
                </a:lnTo>
                <a:lnTo>
                  <a:pt x="970" y="1242"/>
                </a:lnTo>
                <a:lnTo>
                  <a:pt x="970" y="1574"/>
                </a:lnTo>
                <a:lnTo>
                  <a:pt x="970" y="1606"/>
                </a:lnTo>
                <a:lnTo>
                  <a:pt x="972" y="1614"/>
                </a:lnTo>
                <a:lnTo>
                  <a:pt x="973" y="1616"/>
                </a:lnTo>
                <a:lnTo>
                  <a:pt x="976" y="1618"/>
                </a:lnTo>
                <a:lnTo>
                  <a:pt x="977" y="1621"/>
                </a:lnTo>
                <a:lnTo>
                  <a:pt x="981" y="1622"/>
                </a:lnTo>
                <a:lnTo>
                  <a:pt x="983" y="1622"/>
                </a:lnTo>
                <a:lnTo>
                  <a:pt x="987" y="1622"/>
                </a:lnTo>
                <a:lnTo>
                  <a:pt x="993" y="1622"/>
                </a:lnTo>
                <a:lnTo>
                  <a:pt x="999" y="1620"/>
                </a:lnTo>
                <a:lnTo>
                  <a:pt x="1006" y="1617"/>
                </a:lnTo>
                <a:lnTo>
                  <a:pt x="1012" y="1612"/>
                </a:lnTo>
                <a:lnTo>
                  <a:pt x="1017" y="1607"/>
                </a:lnTo>
                <a:lnTo>
                  <a:pt x="1023" y="1600"/>
                </a:lnTo>
                <a:lnTo>
                  <a:pt x="1036" y="1584"/>
                </a:lnTo>
                <a:lnTo>
                  <a:pt x="1036" y="1242"/>
                </a:lnTo>
                <a:lnTo>
                  <a:pt x="1121" y="1242"/>
                </a:lnTo>
                <a:lnTo>
                  <a:pt x="1121" y="1690"/>
                </a:lnTo>
                <a:close/>
                <a:moveTo>
                  <a:pt x="1987" y="1313"/>
                </a:moveTo>
                <a:lnTo>
                  <a:pt x="1982" y="1313"/>
                </a:lnTo>
                <a:lnTo>
                  <a:pt x="1977" y="1314"/>
                </a:lnTo>
                <a:lnTo>
                  <a:pt x="1966" y="1318"/>
                </a:lnTo>
                <a:lnTo>
                  <a:pt x="1961" y="1322"/>
                </a:lnTo>
                <a:lnTo>
                  <a:pt x="1956" y="1325"/>
                </a:lnTo>
                <a:lnTo>
                  <a:pt x="1950" y="1329"/>
                </a:lnTo>
                <a:lnTo>
                  <a:pt x="1945" y="1334"/>
                </a:lnTo>
                <a:lnTo>
                  <a:pt x="1945" y="1602"/>
                </a:lnTo>
                <a:lnTo>
                  <a:pt x="1956" y="1611"/>
                </a:lnTo>
                <a:lnTo>
                  <a:pt x="1961" y="1615"/>
                </a:lnTo>
                <a:lnTo>
                  <a:pt x="1966" y="1617"/>
                </a:lnTo>
                <a:lnTo>
                  <a:pt x="1972" y="1620"/>
                </a:lnTo>
                <a:lnTo>
                  <a:pt x="1977" y="1621"/>
                </a:lnTo>
                <a:lnTo>
                  <a:pt x="1982" y="1622"/>
                </a:lnTo>
                <a:lnTo>
                  <a:pt x="1987" y="1622"/>
                </a:lnTo>
                <a:lnTo>
                  <a:pt x="1995" y="1622"/>
                </a:lnTo>
                <a:lnTo>
                  <a:pt x="1999" y="1621"/>
                </a:lnTo>
                <a:lnTo>
                  <a:pt x="2002" y="1620"/>
                </a:lnTo>
                <a:lnTo>
                  <a:pt x="2005" y="1617"/>
                </a:lnTo>
                <a:lnTo>
                  <a:pt x="2008" y="1615"/>
                </a:lnTo>
                <a:lnTo>
                  <a:pt x="2010" y="1612"/>
                </a:lnTo>
                <a:lnTo>
                  <a:pt x="2013" y="1609"/>
                </a:lnTo>
                <a:lnTo>
                  <a:pt x="2016" y="1600"/>
                </a:lnTo>
                <a:lnTo>
                  <a:pt x="2019" y="1590"/>
                </a:lnTo>
                <a:lnTo>
                  <a:pt x="2020" y="1576"/>
                </a:lnTo>
                <a:lnTo>
                  <a:pt x="2020" y="1562"/>
                </a:lnTo>
                <a:lnTo>
                  <a:pt x="2020" y="1371"/>
                </a:lnTo>
                <a:lnTo>
                  <a:pt x="2020" y="1355"/>
                </a:lnTo>
                <a:lnTo>
                  <a:pt x="2019" y="1343"/>
                </a:lnTo>
                <a:lnTo>
                  <a:pt x="2016" y="1333"/>
                </a:lnTo>
                <a:lnTo>
                  <a:pt x="2014" y="1329"/>
                </a:lnTo>
                <a:lnTo>
                  <a:pt x="2013" y="1325"/>
                </a:lnTo>
                <a:lnTo>
                  <a:pt x="2010" y="1323"/>
                </a:lnTo>
                <a:lnTo>
                  <a:pt x="2008" y="1319"/>
                </a:lnTo>
                <a:lnTo>
                  <a:pt x="2005" y="1318"/>
                </a:lnTo>
                <a:lnTo>
                  <a:pt x="2002" y="1315"/>
                </a:lnTo>
                <a:lnTo>
                  <a:pt x="1995" y="1314"/>
                </a:lnTo>
                <a:lnTo>
                  <a:pt x="1987" y="1313"/>
                </a:lnTo>
                <a:close/>
                <a:moveTo>
                  <a:pt x="2317" y="1366"/>
                </a:moveTo>
                <a:lnTo>
                  <a:pt x="2317" y="1352"/>
                </a:lnTo>
                <a:lnTo>
                  <a:pt x="2316" y="1341"/>
                </a:lnTo>
                <a:lnTo>
                  <a:pt x="2315" y="1336"/>
                </a:lnTo>
                <a:lnTo>
                  <a:pt x="2313" y="1331"/>
                </a:lnTo>
                <a:lnTo>
                  <a:pt x="2308" y="1324"/>
                </a:lnTo>
                <a:lnTo>
                  <a:pt x="2306" y="1322"/>
                </a:lnTo>
                <a:lnTo>
                  <a:pt x="2303" y="1319"/>
                </a:lnTo>
                <a:lnTo>
                  <a:pt x="2301" y="1318"/>
                </a:lnTo>
                <a:lnTo>
                  <a:pt x="2297" y="1315"/>
                </a:lnTo>
                <a:lnTo>
                  <a:pt x="2293" y="1314"/>
                </a:lnTo>
                <a:lnTo>
                  <a:pt x="2290" y="1314"/>
                </a:lnTo>
                <a:lnTo>
                  <a:pt x="2280" y="1313"/>
                </a:lnTo>
                <a:lnTo>
                  <a:pt x="2271" y="1314"/>
                </a:lnTo>
                <a:lnTo>
                  <a:pt x="2266" y="1314"/>
                </a:lnTo>
                <a:lnTo>
                  <a:pt x="2263" y="1315"/>
                </a:lnTo>
                <a:lnTo>
                  <a:pt x="2260" y="1317"/>
                </a:lnTo>
                <a:lnTo>
                  <a:pt x="2256" y="1319"/>
                </a:lnTo>
                <a:lnTo>
                  <a:pt x="2254" y="1322"/>
                </a:lnTo>
                <a:lnTo>
                  <a:pt x="2251" y="1324"/>
                </a:lnTo>
                <a:lnTo>
                  <a:pt x="2249" y="1328"/>
                </a:lnTo>
                <a:lnTo>
                  <a:pt x="2246" y="1331"/>
                </a:lnTo>
                <a:lnTo>
                  <a:pt x="2245" y="1335"/>
                </a:lnTo>
                <a:lnTo>
                  <a:pt x="2244" y="1340"/>
                </a:lnTo>
                <a:lnTo>
                  <a:pt x="2243" y="1351"/>
                </a:lnTo>
                <a:lnTo>
                  <a:pt x="2242" y="1366"/>
                </a:lnTo>
                <a:lnTo>
                  <a:pt x="2242" y="1414"/>
                </a:lnTo>
                <a:lnTo>
                  <a:pt x="2317" y="1414"/>
                </a:lnTo>
                <a:lnTo>
                  <a:pt x="2317" y="1366"/>
                </a:lnTo>
                <a:close/>
                <a:moveTo>
                  <a:pt x="2499" y="1140"/>
                </a:moveTo>
                <a:lnTo>
                  <a:pt x="2496" y="1125"/>
                </a:lnTo>
                <a:lnTo>
                  <a:pt x="2493" y="1109"/>
                </a:lnTo>
                <a:lnTo>
                  <a:pt x="2488" y="1089"/>
                </a:lnTo>
                <a:lnTo>
                  <a:pt x="2485" y="1079"/>
                </a:lnTo>
                <a:lnTo>
                  <a:pt x="2480" y="1068"/>
                </a:lnTo>
                <a:lnTo>
                  <a:pt x="2477" y="1057"/>
                </a:lnTo>
                <a:lnTo>
                  <a:pt x="2472" y="1046"/>
                </a:lnTo>
                <a:lnTo>
                  <a:pt x="2467" y="1036"/>
                </a:lnTo>
                <a:lnTo>
                  <a:pt x="2461" y="1026"/>
                </a:lnTo>
                <a:lnTo>
                  <a:pt x="2454" y="1017"/>
                </a:lnTo>
                <a:lnTo>
                  <a:pt x="2447" y="1009"/>
                </a:lnTo>
                <a:lnTo>
                  <a:pt x="2442" y="1004"/>
                </a:lnTo>
                <a:lnTo>
                  <a:pt x="2437" y="1000"/>
                </a:lnTo>
                <a:lnTo>
                  <a:pt x="2427" y="991"/>
                </a:lnTo>
                <a:lnTo>
                  <a:pt x="2418" y="984"/>
                </a:lnTo>
                <a:lnTo>
                  <a:pt x="2409" y="979"/>
                </a:lnTo>
                <a:lnTo>
                  <a:pt x="2399" y="973"/>
                </a:lnTo>
                <a:lnTo>
                  <a:pt x="2390" y="969"/>
                </a:lnTo>
                <a:lnTo>
                  <a:pt x="2380" y="965"/>
                </a:lnTo>
                <a:lnTo>
                  <a:pt x="2371" y="963"/>
                </a:lnTo>
                <a:lnTo>
                  <a:pt x="2363" y="960"/>
                </a:lnTo>
                <a:lnTo>
                  <a:pt x="2354" y="958"/>
                </a:lnTo>
                <a:lnTo>
                  <a:pt x="2347" y="957"/>
                </a:lnTo>
                <a:lnTo>
                  <a:pt x="2339" y="955"/>
                </a:lnTo>
                <a:lnTo>
                  <a:pt x="2315" y="953"/>
                </a:lnTo>
                <a:lnTo>
                  <a:pt x="2242" y="948"/>
                </a:lnTo>
                <a:lnTo>
                  <a:pt x="2164" y="945"/>
                </a:lnTo>
                <a:lnTo>
                  <a:pt x="2086" y="943"/>
                </a:lnTo>
                <a:lnTo>
                  <a:pt x="2013" y="942"/>
                </a:lnTo>
                <a:lnTo>
                  <a:pt x="1898" y="939"/>
                </a:lnTo>
                <a:lnTo>
                  <a:pt x="1851" y="939"/>
                </a:lnTo>
                <a:lnTo>
                  <a:pt x="1805" y="939"/>
                </a:lnTo>
                <a:lnTo>
                  <a:pt x="1688" y="942"/>
                </a:lnTo>
                <a:lnTo>
                  <a:pt x="1615" y="943"/>
                </a:lnTo>
                <a:lnTo>
                  <a:pt x="1538" y="945"/>
                </a:lnTo>
                <a:lnTo>
                  <a:pt x="1461" y="948"/>
                </a:lnTo>
                <a:lnTo>
                  <a:pt x="1387" y="953"/>
                </a:lnTo>
                <a:lnTo>
                  <a:pt x="1377" y="954"/>
                </a:lnTo>
                <a:lnTo>
                  <a:pt x="1363" y="955"/>
                </a:lnTo>
                <a:lnTo>
                  <a:pt x="1347" y="958"/>
                </a:lnTo>
                <a:lnTo>
                  <a:pt x="1338" y="960"/>
                </a:lnTo>
                <a:lnTo>
                  <a:pt x="1330" y="963"/>
                </a:lnTo>
                <a:lnTo>
                  <a:pt x="1312" y="969"/>
                </a:lnTo>
                <a:lnTo>
                  <a:pt x="1302" y="973"/>
                </a:lnTo>
                <a:lnTo>
                  <a:pt x="1293" y="979"/>
                </a:lnTo>
                <a:lnTo>
                  <a:pt x="1283" y="984"/>
                </a:lnTo>
                <a:lnTo>
                  <a:pt x="1274" y="991"/>
                </a:lnTo>
                <a:lnTo>
                  <a:pt x="1264" y="1000"/>
                </a:lnTo>
                <a:lnTo>
                  <a:pt x="1254" y="1009"/>
                </a:lnTo>
                <a:lnTo>
                  <a:pt x="1247" y="1017"/>
                </a:lnTo>
                <a:lnTo>
                  <a:pt x="1241" y="1026"/>
                </a:lnTo>
                <a:lnTo>
                  <a:pt x="1234" y="1036"/>
                </a:lnTo>
                <a:lnTo>
                  <a:pt x="1229" y="1046"/>
                </a:lnTo>
                <a:lnTo>
                  <a:pt x="1225" y="1057"/>
                </a:lnTo>
                <a:lnTo>
                  <a:pt x="1221" y="1068"/>
                </a:lnTo>
                <a:lnTo>
                  <a:pt x="1213" y="1089"/>
                </a:lnTo>
                <a:lnTo>
                  <a:pt x="1208" y="1109"/>
                </a:lnTo>
                <a:lnTo>
                  <a:pt x="1205" y="1125"/>
                </a:lnTo>
                <a:lnTo>
                  <a:pt x="1202" y="1140"/>
                </a:lnTo>
                <a:lnTo>
                  <a:pt x="1200" y="1158"/>
                </a:lnTo>
                <a:lnTo>
                  <a:pt x="1195" y="1206"/>
                </a:lnTo>
                <a:lnTo>
                  <a:pt x="1192" y="1239"/>
                </a:lnTo>
                <a:lnTo>
                  <a:pt x="1191" y="1275"/>
                </a:lnTo>
                <a:lnTo>
                  <a:pt x="1189" y="1313"/>
                </a:lnTo>
                <a:lnTo>
                  <a:pt x="1189" y="1352"/>
                </a:lnTo>
                <a:lnTo>
                  <a:pt x="1189" y="1453"/>
                </a:lnTo>
                <a:lnTo>
                  <a:pt x="1189" y="1492"/>
                </a:lnTo>
                <a:lnTo>
                  <a:pt x="1191" y="1531"/>
                </a:lnTo>
                <a:lnTo>
                  <a:pt x="1192" y="1568"/>
                </a:lnTo>
                <a:lnTo>
                  <a:pt x="1195" y="1600"/>
                </a:lnTo>
                <a:lnTo>
                  <a:pt x="1197" y="1627"/>
                </a:lnTo>
                <a:lnTo>
                  <a:pt x="1200" y="1648"/>
                </a:lnTo>
                <a:lnTo>
                  <a:pt x="1202" y="1667"/>
                </a:lnTo>
                <a:lnTo>
                  <a:pt x="1205" y="1682"/>
                </a:lnTo>
                <a:lnTo>
                  <a:pt x="1208" y="1696"/>
                </a:lnTo>
                <a:lnTo>
                  <a:pt x="1213" y="1716"/>
                </a:lnTo>
                <a:lnTo>
                  <a:pt x="1217" y="1727"/>
                </a:lnTo>
                <a:lnTo>
                  <a:pt x="1221" y="1739"/>
                </a:lnTo>
                <a:lnTo>
                  <a:pt x="1225" y="1748"/>
                </a:lnTo>
                <a:lnTo>
                  <a:pt x="1229" y="1760"/>
                </a:lnTo>
                <a:lnTo>
                  <a:pt x="1234" y="1771"/>
                </a:lnTo>
                <a:lnTo>
                  <a:pt x="1241" y="1779"/>
                </a:lnTo>
                <a:lnTo>
                  <a:pt x="1247" y="1789"/>
                </a:lnTo>
                <a:lnTo>
                  <a:pt x="1254" y="1797"/>
                </a:lnTo>
                <a:lnTo>
                  <a:pt x="1264" y="1807"/>
                </a:lnTo>
                <a:lnTo>
                  <a:pt x="1274" y="1814"/>
                </a:lnTo>
                <a:lnTo>
                  <a:pt x="1284" y="1821"/>
                </a:lnTo>
                <a:lnTo>
                  <a:pt x="1294" y="1828"/>
                </a:lnTo>
                <a:lnTo>
                  <a:pt x="1305" y="1833"/>
                </a:lnTo>
                <a:lnTo>
                  <a:pt x="1315" y="1836"/>
                </a:lnTo>
                <a:lnTo>
                  <a:pt x="1336" y="1842"/>
                </a:lnTo>
                <a:lnTo>
                  <a:pt x="1345" y="1845"/>
                </a:lnTo>
                <a:lnTo>
                  <a:pt x="1354" y="1847"/>
                </a:lnTo>
                <a:lnTo>
                  <a:pt x="1372" y="1850"/>
                </a:lnTo>
                <a:lnTo>
                  <a:pt x="1400" y="1854"/>
                </a:lnTo>
                <a:lnTo>
                  <a:pt x="1422" y="1855"/>
                </a:lnTo>
                <a:lnTo>
                  <a:pt x="1450" y="1857"/>
                </a:lnTo>
                <a:lnTo>
                  <a:pt x="1515" y="1860"/>
                </a:lnTo>
                <a:lnTo>
                  <a:pt x="1590" y="1862"/>
                </a:lnTo>
                <a:lnTo>
                  <a:pt x="1665" y="1863"/>
                </a:lnTo>
                <a:lnTo>
                  <a:pt x="1795" y="1866"/>
                </a:lnTo>
                <a:lnTo>
                  <a:pt x="1851" y="1867"/>
                </a:lnTo>
                <a:lnTo>
                  <a:pt x="1898" y="1866"/>
                </a:lnTo>
                <a:lnTo>
                  <a:pt x="2013" y="1865"/>
                </a:lnTo>
                <a:lnTo>
                  <a:pt x="2086" y="1863"/>
                </a:lnTo>
                <a:lnTo>
                  <a:pt x="2164" y="1861"/>
                </a:lnTo>
                <a:lnTo>
                  <a:pt x="2242" y="1857"/>
                </a:lnTo>
                <a:lnTo>
                  <a:pt x="2315" y="1852"/>
                </a:lnTo>
                <a:lnTo>
                  <a:pt x="2326" y="1852"/>
                </a:lnTo>
                <a:lnTo>
                  <a:pt x="2339" y="1850"/>
                </a:lnTo>
                <a:lnTo>
                  <a:pt x="2354" y="1847"/>
                </a:lnTo>
                <a:lnTo>
                  <a:pt x="2363" y="1846"/>
                </a:lnTo>
                <a:lnTo>
                  <a:pt x="2371" y="1844"/>
                </a:lnTo>
                <a:lnTo>
                  <a:pt x="2390" y="1837"/>
                </a:lnTo>
                <a:lnTo>
                  <a:pt x="2399" y="1833"/>
                </a:lnTo>
                <a:lnTo>
                  <a:pt x="2409" y="1828"/>
                </a:lnTo>
                <a:lnTo>
                  <a:pt x="2418" y="1821"/>
                </a:lnTo>
                <a:lnTo>
                  <a:pt x="2427" y="1814"/>
                </a:lnTo>
                <a:lnTo>
                  <a:pt x="2437" y="1807"/>
                </a:lnTo>
                <a:lnTo>
                  <a:pt x="2447" y="1797"/>
                </a:lnTo>
                <a:lnTo>
                  <a:pt x="2454" y="1789"/>
                </a:lnTo>
                <a:lnTo>
                  <a:pt x="2461" y="1779"/>
                </a:lnTo>
                <a:lnTo>
                  <a:pt x="2467" y="1771"/>
                </a:lnTo>
                <a:lnTo>
                  <a:pt x="2472" y="1760"/>
                </a:lnTo>
                <a:lnTo>
                  <a:pt x="2477" y="1748"/>
                </a:lnTo>
                <a:lnTo>
                  <a:pt x="2480" y="1739"/>
                </a:lnTo>
                <a:lnTo>
                  <a:pt x="2488" y="1716"/>
                </a:lnTo>
                <a:lnTo>
                  <a:pt x="2493" y="1696"/>
                </a:lnTo>
                <a:lnTo>
                  <a:pt x="2496" y="1682"/>
                </a:lnTo>
                <a:lnTo>
                  <a:pt x="2499" y="1667"/>
                </a:lnTo>
                <a:lnTo>
                  <a:pt x="2501" y="1648"/>
                </a:lnTo>
                <a:lnTo>
                  <a:pt x="2506" y="1600"/>
                </a:lnTo>
                <a:lnTo>
                  <a:pt x="2509" y="1568"/>
                </a:lnTo>
                <a:lnTo>
                  <a:pt x="2510" y="1531"/>
                </a:lnTo>
                <a:lnTo>
                  <a:pt x="2512" y="1492"/>
                </a:lnTo>
                <a:lnTo>
                  <a:pt x="2512" y="1453"/>
                </a:lnTo>
                <a:lnTo>
                  <a:pt x="2512" y="1352"/>
                </a:lnTo>
                <a:lnTo>
                  <a:pt x="2512" y="1313"/>
                </a:lnTo>
                <a:lnTo>
                  <a:pt x="2510" y="1275"/>
                </a:lnTo>
                <a:lnTo>
                  <a:pt x="2509" y="1239"/>
                </a:lnTo>
                <a:lnTo>
                  <a:pt x="2506" y="1206"/>
                </a:lnTo>
                <a:lnTo>
                  <a:pt x="2504" y="1179"/>
                </a:lnTo>
                <a:lnTo>
                  <a:pt x="2501" y="1158"/>
                </a:lnTo>
                <a:lnTo>
                  <a:pt x="2499" y="1140"/>
                </a:lnTo>
                <a:close/>
                <a:moveTo>
                  <a:pt x="1479" y="1690"/>
                </a:moveTo>
                <a:lnTo>
                  <a:pt x="1390" y="1690"/>
                </a:lnTo>
                <a:lnTo>
                  <a:pt x="1390" y="1179"/>
                </a:lnTo>
                <a:lnTo>
                  <a:pt x="1298" y="1179"/>
                </a:lnTo>
                <a:lnTo>
                  <a:pt x="1298" y="1095"/>
                </a:lnTo>
                <a:lnTo>
                  <a:pt x="1577" y="1095"/>
                </a:lnTo>
                <a:lnTo>
                  <a:pt x="1577" y="1179"/>
                </a:lnTo>
                <a:lnTo>
                  <a:pt x="1479" y="1179"/>
                </a:lnTo>
                <a:lnTo>
                  <a:pt x="1479" y="1690"/>
                </a:lnTo>
                <a:close/>
                <a:moveTo>
                  <a:pt x="1799" y="1690"/>
                </a:moveTo>
                <a:lnTo>
                  <a:pt x="1714" y="1690"/>
                </a:lnTo>
                <a:lnTo>
                  <a:pt x="1714" y="1641"/>
                </a:lnTo>
                <a:lnTo>
                  <a:pt x="1702" y="1654"/>
                </a:lnTo>
                <a:lnTo>
                  <a:pt x="1691" y="1666"/>
                </a:lnTo>
                <a:lnTo>
                  <a:pt x="1680" y="1674"/>
                </a:lnTo>
                <a:lnTo>
                  <a:pt x="1669" y="1683"/>
                </a:lnTo>
                <a:lnTo>
                  <a:pt x="1659" y="1688"/>
                </a:lnTo>
                <a:lnTo>
                  <a:pt x="1648" y="1693"/>
                </a:lnTo>
                <a:lnTo>
                  <a:pt x="1643" y="1694"/>
                </a:lnTo>
                <a:lnTo>
                  <a:pt x="1637" y="1695"/>
                </a:lnTo>
                <a:lnTo>
                  <a:pt x="1625" y="1696"/>
                </a:lnTo>
                <a:lnTo>
                  <a:pt x="1617" y="1695"/>
                </a:lnTo>
                <a:lnTo>
                  <a:pt x="1608" y="1694"/>
                </a:lnTo>
                <a:lnTo>
                  <a:pt x="1604" y="1693"/>
                </a:lnTo>
                <a:lnTo>
                  <a:pt x="1601" y="1691"/>
                </a:lnTo>
                <a:lnTo>
                  <a:pt x="1593" y="1688"/>
                </a:lnTo>
                <a:lnTo>
                  <a:pt x="1587" y="1683"/>
                </a:lnTo>
                <a:lnTo>
                  <a:pt x="1581" y="1677"/>
                </a:lnTo>
                <a:lnTo>
                  <a:pt x="1577" y="1669"/>
                </a:lnTo>
                <a:lnTo>
                  <a:pt x="1575" y="1666"/>
                </a:lnTo>
                <a:lnTo>
                  <a:pt x="1573" y="1662"/>
                </a:lnTo>
                <a:lnTo>
                  <a:pt x="1571" y="1657"/>
                </a:lnTo>
                <a:lnTo>
                  <a:pt x="1570" y="1651"/>
                </a:lnTo>
                <a:lnTo>
                  <a:pt x="1566" y="1636"/>
                </a:lnTo>
                <a:lnTo>
                  <a:pt x="1565" y="1627"/>
                </a:lnTo>
                <a:lnTo>
                  <a:pt x="1565" y="1618"/>
                </a:lnTo>
                <a:lnTo>
                  <a:pt x="1564" y="1596"/>
                </a:lnTo>
                <a:lnTo>
                  <a:pt x="1564" y="1246"/>
                </a:lnTo>
                <a:lnTo>
                  <a:pt x="1648" y="1246"/>
                </a:lnTo>
                <a:lnTo>
                  <a:pt x="1648" y="1574"/>
                </a:lnTo>
                <a:lnTo>
                  <a:pt x="1648" y="1606"/>
                </a:lnTo>
                <a:lnTo>
                  <a:pt x="1650" y="1614"/>
                </a:lnTo>
                <a:lnTo>
                  <a:pt x="1651" y="1616"/>
                </a:lnTo>
                <a:lnTo>
                  <a:pt x="1654" y="1618"/>
                </a:lnTo>
                <a:lnTo>
                  <a:pt x="1656" y="1621"/>
                </a:lnTo>
                <a:lnTo>
                  <a:pt x="1659" y="1622"/>
                </a:lnTo>
                <a:lnTo>
                  <a:pt x="1662" y="1622"/>
                </a:lnTo>
                <a:lnTo>
                  <a:pt x="1666" y="1622"/>
                </a:lnTo>
                <a:lnTo>
                  <a:pt x="1672" y="1622"/>
                </a:lnTo>
                <a:lnTo>
                  <a:pt x="1677" y="1620"/>
                </a:lnTo>
                <a:lnTo>
                  <a:pt x="1684" y="1617"/>
                </a:lnTo>
                <a:lnTo>
                  <a:pt x="1690" y="1612"/>
                </a:lnTo>
                <a:lnTo>
                  <a:pt x="1696" y="1607"/>
                </a:lnTo>
                <a:lnTo>
                  <a:pt x="1702" y="1600"/>
                </a:lnTo>
                <a:lnTo>
                  <a:pt x="1714" y="1584"/>
                </a:lnTo>
                <a:lnTo>
                  <a:pt x="1714" y="1246"/>
                </a:lnTo>
                <a:lnTo>
                  <a:pt x="1799" y="1246"/>
                </a:lnTo>
                <a:lnTo>
                  <a:pt x="1799" y="1690"/>
                </a:lnTo>
                <a:close/>
                <a:moveTo>
                  <a:pt x="2104" y="1557"/>
                </a:moveTo>
                <a:lnTo>
                  <a:pt x="2104" y="1585"/>
                </a:lnTo>
                <a:lnTo>
                  <a:pt x="2103" y="1597"/>
                </a:lnTo>
                <a:lnTo>
                  <a:pt x="2102" y="1610"/>
                </a:lnTo>
                <a:lnTo>
                  <a:pt x="2099" y="1630"/>
                </a:lnTo>
                <a:lnTo>
                  <a:pt x="2098" y="1638"/>
                </a:lnTo>
                <a:lnTo>
                  <a:pt x="2096" y="1646"/>
                </a:lnTo>
                <a:lnTo>
                  <a:pt x="2093" y="1652"/>
                </a:lnTo>
                <a:lnTo>
                  <a:pt x="2091" y="1657"/>
                </a:lnTo>
                <a:lnTo>
                  <a:pt x="2086" y="1667"/>
                </a:lnTo>
                <a:lnTo>
                  <a:pt x="2078" y="1675"/>
                </a:lnTo>
                <a:lnTo>
                  <a:pt x="2071" y="1683"/>
                </a:lnTo>
                <a:lnTo>
                  <a:pt x="2066" y="1685"/>
                </a:lnTo>
                <a:lnTo>
                  <a:pt x="2062" y="1688"/>
                </a:lnTo>
                <a:lnTo>
                  <a:pt x="2052" y="1693"/>
                </a:lnTo>
                <a:lnTo>
                  <a:pt x="2041" y="1695"/>
                </a:lnTo>
                <a:lnTo>
                  <a:pt x="2030" y="1695"/>
                </a:lnTo>
                <a:lnTo>
                  <a:pt x="2019" y="1695"/>
                </a:lnTo>
                <a:lnTo>
                  <a:pt x="2014" y="1694"/>
                </a:lnTo>
                <a:lnTo>
                  <a:pt x="2008" y="1693"/>
                </a:lnTo>
                <a:lnTo>
                  <a:pt x="2003" y="1690"/>
                </a:lnTo>
                <a:lnTo>
                  <a:pt x="1998" y="1688"/>
                </a:lnTo>
                <a:lnTo>
                  <a:pt x="1987" y="1683"/>
                </a:lnTo>
                <a:lnTo>
                  <a:pt x="1982" y="1679"/>
                </a:lnTo>
                <a:lnTo>
                  <a:pt x="1977" y="1675"/>
                </a:lnTo>
                <a:lnTo>
                  <a:pt x="1966" y="1667"/>
                </a:lnTo>
                <a:lnTo>
                  <a:pt x="1956" y="1657"/>
                </a:lnTo>
                <a:lnTo>
                  <a:pt x="1945" y="1646"/>
                </a:lnTo>
                <a:lnTo>
                  <a:pt x="1945" y="1690"/>
                </a:lnTo>
                <a:lnTo>
                  <a:pt x="1865" y="1690"/>
                </a:lnTo>
                <a:lnTo>
                  <a:pt x="1865" y="1095"/>
                </a:lnTo>
                <a:lnTo>
                  <a:pt x="1945" y="1095"/>
                </a:lnTo>
                <a:lnTo>
                  <a:pt x="1945" y="1289"/>
                </a:lnTo>
                <a:lnTo>
                  <a:pt x="1954" y="1278"/>
                </a:lnTo>
                <a:lnTo>
                  <a:pt x="1964" y="1268"/>
                </a:lnTo>
                <a:lnTo>
                  <a:pt x="1976" y="1260"/>
                </a:lnTo>
                <a:lnTo>
                  <a:pt x="1985" y="1252"/>
                </a:lnTo>
                <a:lnTo>
                  <a:pt x="1997" y="1247"/>
                </a:lnTo>
                <a:lnTo>
                  <a:pt x="2003" y="1245"/>
                </a:lnTo>
                <a:lnTo>
                  <a:pt x="2008" y="1242"/>
                </a:lnTo>
                <a:lnTo>
                  <a:pt x="2013" y="1241"/>
                </a:lnTo>
                <a:lnTo>
                  <a:pt x="2019" y="1240"/>
                </a:lnTo>
                <a:lnTo>
                  <a:pt x="2030" y="1240"/>
                </a:lnTo>
                <a:lnTo>
                  <a:pt x="2041" y="1240"/>
                </a:lnTo>
                <a:lnTo>
                  <a:pt x="2052" y="1242"/>
                </a:lnTo>
                <a:lnTo>
                  <a:pt x="2057" y="1245"/>
                </a:lnTo>
                <a:lnTo>
                  <a:pt x="2061" y="1247"/>
                </a:lnTo>
                <a:lnTo>
                  <a:pt x="2066" y="1250"/>
                </a:lnTo>
                <a:lnTo>
                  <a:pt x="2070" y="1252"/>
                </a:lnTo>
                <a:lnTo>
                  <a:pt x="2073" y="1256"/>
                </a:lnTo>
                <a:lnTo>
                  <a:pt x="2077" y="1260"/>
                </a:lnTo>
                <a:lnTo>
                  <a:pt x="2081" y="1265"/>
                </a:lnTo>
                <a:lnTo>
                  <a:pt x="2084" y="1268"/>
                </a:lnTo>
                <a:lnTo>
                  <a:pt x="2089" y="1279"/>
                </a:lnTo>
                <a:lnTo>
                  <a:pt x="2094" y="1291"/>
                </a:lnTo>
                <a:lnTo>
                  <a:pt x="2098" y="1307"/>
                </a:lnTo>
                <a:lnTo>
                  <a:pt x="2099" y="1315"/>
                </a:lnTo>
                <a:lnTo>
                  <a:pt x="2102" y="1326"/>
                </a:lnTo>
                <a:lnTo>
                  <a:pt x="2104" y="1350"/>
                </a:lnTo>
                <a:lnTo>
                  <a:pt x="2104" y="1365"/>
                </a:lnTo>
                <a:lnTo>
                  <a:pt x="2104" y="1380"/>
                </a:lnTo>
                <a:lnTo>
                  <a:pt x="2104" y="1557"/>
                </a:lnTo>
                <a:close/>
                <a:moveTo>
                  <a:pt x="2281" y="1622"/>
                </a:moveTo>
                <a:lnTo>
                  <a:pt x="2289" y="1622"/>
                </a:lnTo>
                <a:lnTo>
                  <a:pt x="2295" y="1621"/>
                </a:lnTo>
                <a:lnTo>
                  <a:pt x="2300" y="1618"/>
                </a:lnTo>
                <a:lnTo>
                  <a:pt x="2305" y="1615"/>
                </a:lnTo>
                <a:lnTo>
                  <a:pt x="2307" y="1612"/>
                </a:lnTo>
                <a:lnTo>
                  <a:pt x="2308" y="1610"/>
                </a:lnTo>
                <a:lnTo>
                  <a:pt x="2312" y="1605"/>
                </a:lnTo>
                <a:lnTo>
                  <a:pt x="2315" y="1597"/>
                </a:lnTo>
                <a:lnTo>
                  <a:pt x="2317" y="1590"/>
                </a:lnTo>
                <a:lnTo>
                  <a:pt x="2317" y="1584"/>
                </a:lnTo>
                <a:lnTo>
                  <a:pt x="2317" y="1573"/>
                </a:lnTo>
                <a:lnTo>
                  <a:pt x="2317" y="1534"/>
                </a:lnTo>
                <a:lnTo>
                  <a:pt x="2401" y="1534"/>
                </a:lnTo>
                <a:lnTo>
                  <a:pt x="2401" y="1547"/>
                </a:lnTo>
                <a:lnTo>
                  <a:pt x="2401" y="1565"/>
                </a:lnTo>
                <a:lnTo>
                  <a:pt x="2401" y="1580"/>
                </a:lnTo>
                <a:lnTo>
                  <a:pt x="2399" y="1600"/>
                </a:lnTo>
                <a:lnTo>
                  <a:pt x="2396" y="1612"/>
                </a:lnTo>
                <a:lnTo>
                  <a:pt x="2392" y="1625"/>
                </a:lnTo>
                <a:lnTo>
                  <a:pt x="2386" y="1637"/>
                </a:lnTo>
                <a:lnTo>
                  <a:pt x="2384" y="1642"/>
                </a:lnTo>
                <a:lnTo>
                  <a:pt x="2380" y="1647"/>
                </a:lnTo>
                <a:lnTo>
                  <a:pt x="2376" y="1653"/>
                </a:lnTo>
                <a:lnTo>
                  <a:pt x="2371" y="1659"/>
                </a:lnTo>
                <a:lnTo>
                  <a:pt x="2362" y="1668"/>
                </a:lnTo>
                <a:lnTo>
                  <a:pt x="2357" y="1673"/>
                </a:lnTo>
                <a:lnTo>
                  <a:pt x="2350" y="1677"/>
                </a:lnTo>
                <a:lnTo>
                  <a:pt x="2339" y="1684"/>
                </a:lnTo>
                <a:lnTo>
                  <a:pt x="2327" y="1689"/>
                </a:lnTo>
                <a:lnTo>
                  <a:pt x="2319" y="1690"/>
                </a:lnTo>
                <a:lnTo>
                  <a:pt x="2313" y="1693"/>
                </a:lnTo>
                <a:lnTo>
                  <a:pt x="2306" y="1694"/>
                </a:lnTo>
                <a:lnTo>
                  <a:pt x="2298" y="1695"/>
                </a:lnTo>
                <a:lnTo>
                  <a:pt x="2291" y="1695"/>
                </a:lnTo>
                <a:lnTo>
                  <a:pt x="2284" y="1695"/>
                </a:lnTo>
                <a:lnTo>
                  <a:pt x="2268" y="1695"/>
                </a:lnTo>
                <a:lnTo>
                  <a:pt x="2254" y="1693"/>
                </a:lnTo>
                <a:lnTo>
                  <a:pt x="2240" y="1689"/>
                </a:lnTo>
                <a:lnTo>
                  <a:pt x="2228" y="1684"/>
                </a:lnTo>
                <a:lnTo>
                  <a:pt x="2222" y="1682"/>
                </a:lnTo>
                <a:lnTo>
                  <a:pt x="2216" y="1678"/>
                </a:lnTo>
                <a:lnTo>
                  <a:pt x="2204" y="1670"/>
                </a:lnTo>
                <a:lnTo>
                  <a:pt x="2199" y="1666"/>
                </a:lnTo>
                <a:lnTo>
                  <a:pt x="2195" y="1661"/>
                </a:lnTo>
                <a:lnTo>
                  <a:pt x="2186" y="1651"/>
                </a:lnTo>
                <a:lnTo>
                  <a:pt x="2180" y="1641"/>
                </a:lnTo>
                <a:lnTo>
                  <a:pt x="2175" y="1631"/>
                </a:lnTo>
                <a:lnTo>
                  <a:pt x="2172" y="1626"/>
                </a:lnTo>
                <a:lnTo>
                  <a:pt x="2170" y="1621"/>
                </a:lnTo>
                <a:lnTo>
                  <a:pt x="2165" y="1609"/>
                </a:lnTo>
                <a:lnTo>
                  <a:pt x="2162" y="1595"/>
                </a:lnTo>
                <a:lnTo>
                  <a:pt x="2160" y="1580"/>
                </a:lnTo>
                <a:lnTo>
                  <a:pt x="2159" y="1565"/>
                </a:lnTo>
                <a:lnTo>
                  <a:pt x="2157" y="1548"/>
                </a:lnTo>
                <a:lnTo>
                  <a:pt x="2157" y="1393"/>
                </a:lnTo>
                <a:lnTo>
                  <a:pt x="2159" y="1376"/>
                </a:lnTo>
                <a:lnTo>
                  <a:pt x="2160" y="1359"/>
                </a:lnTo>
                <a:lnTo>
                  <a:pt x="2162" y="1344"/>
                </a:lnTo>
                <a:lnTo>
                  <a:pt x="2165" y="1330"/>
                </a:lnTo>
                <a:lnTo>
                  <a:pt x="2169" y="1318"/>
                </a:lnTo>
                <a:lnTo>
                  <a:pt x="2173" y="1305"/>
                </a:lnTo>
                <a:lnTo>
                  <a:pt x="2178" y="1296"/>
                </a:lnTo>
                <a:lnTo>
                  <a:pt x="2185" y="1287"/>
                </a:lnTo>
                <a:lnTo>
                  <a:pt x="2195" y="1276"/>
                </a:lnTo>
                <a:lnTo>
                  <a:pt x="2198" y="1271"/>
                </a:lnTo>
                <a:lnTo>
                  <a:pt x="2204" y="1266"/>
                </a:lnTo>
                <a:lnTo>
                  <a:pt x="2214" y="1258"/>
                </a:lnTo>
                <a:lnTo>
                  <a:pt x="2227" y="1252"/>
                </a:lnTo>
                <a:lnTo>
                  <a:pt x="2239" y="1246"/>
                </a:lnTo>
                <a:lnTo>
                  <a:pt x="2245" y="1245"/>
                </a:lnTo>
                <a:lnTo>
                  <a:pt x="2251" y="1242"/>
                </a:lnTo>
                <a:lnTo>
                  <a:pt x="2259" y="1241"/>
                </a:lnTo>
                <a:lnTo>
                  <a:pt x="2266" y="1241"/>
                </a:lnTo>
                <a:lnTo>
                  <a:pt x="2274" y="1240"/>
                </a:lnTo>
                <a:lnTo>
                  <a:pt x="2281" y="1240"/>
                </a:lnTo>
                <a:lnTo>
                  <a:pt x="2296" y="1241"/>
                </a:lnTo>
                <a:lnTo>
                  <a:pt x="2310" y="1242"/>
                </a:lnTo>
                <a:lnTo>
                  <a:pt x="2316" y="1245"/>
                </a:lnTo>
                <a:lnTo>
                  <a:pt x="2323" y="1246"/>
                </a:lnTo>
                <a:lnTo>
                  <a:pt x="2329" y="1249"/>
                </a:lnTo>
                <a:lnTo>
                  <a:pt x="2336" y="1252"/>
                </a:lnTo>
                <a:lnTo>
                  <a:pt x="2341" y="1255"/>
                </a:lnTo>
                <a:lnTo>
                  <a:pt x="2347" y="1258"/>
                </a:lnTo>
                <a:lnTo>
                  <a:pt x="2352" y="1262"/>
                </a:lnTo>
                <a:lnTo>
                  <a:pt x="2357" y="1266"/>
                </a:lnTo>
                <a:lnTo>
                  <a:pt x="2366" y="1276"/>
                </a:lnTo>
                <a:lnTo>
                  <a:pt x="2371" y="1281"/>
                </a:lnTo>
                <a:lnTo>
                  <a:pt x="2375" y="1287"/>
                </a:lnTo>
                <a:lnTo>
                  <a:pt x="2381" y="1296"/>
                </a:lnTo>
                <a:lnTo>
                  <a:pt x="2386" y="1305"/>
                </a:lnTo>
                <a:lnTo>
                  <a:pt x="2391" y="1317"/>
                </a:lnTo>
                <a:lnTo>
                  <a:pt x="2395" y="1329"/>
                </a:lnTo>
                <a:lnTo>
                  <a:pt x="2396" y="1336"/>
                </a:lnTo>
                <a:lnTo>
                  <a:pt x="2397" y="1343"/>
                </a:lnTo>
                <a:lnTo>
                  <a:pt x="2400" y="1357"/>
                </a:lnTo>
                <a:lnTo>
                  <a:pt x="2401" y="1374"/>
                </a:lnTo>
                <a:lnTo>
                  <a:pt x="2402" y="1391"/>
                </a:lnTo>
                <a:lnTo>
                  <a:pt x="2402" y="1481"/>
                </a:lnTo>
                <a:lnTo>
                  <a:pt x="2242" y="1481"/>
                </a:lnTo>
                <a:lnTo>
                  <a:pt x="2242" y="1562"/>
                </a:lnTo>
                <a:lnTo>
                  <a:pt x="2243" y="1575"/>
                </a:lnTo>
                <a:lnTo>
                  <a:pt x="2244" y="1588"/>
                </a:lnTo>
                <a:lnTo>
                  <a:pt x="2245" y="1594"/>
                </a:lnTo>
                <a:lnTo>
                  <a:pt x="2246" y="1599"/>
                </a:lnTo>
                <a:lnTo>
                  <a:pt x="2249" y="1602"/>
                </a:lnTo>
                <a:lnTo>
                  <a:pt x="2251" y="1607"/>
                </a:lnTo>
                <a:lnTo>
                  <a:pt x="2256" y="1614"/>
                </a:lnTo>
                <a:lnTo>
                  <a:pt x="2264" y="1618"/>
                </a:lnTo>
                <a:lnTo>
                  <a:pt x="2268" y="1621"/>
                </a:lnTo>
                <a:lnTo>
                  <a:pt x="2271" y="1621"/>
                </a:lnTo>
                <a:lnTo>
                  <a:pt x="2281" y="1622"/>
                </a:lnTo>
                <a:close/>
                <a:moveTo>
                  <a:pt x="0" y="0"/>
                </a:moveTo>
                <a:lnTo>
                  <a:pt x="700" y="0"/>
                </a:lnTo>
                <a:lnTo>
                  <a:pt x="1401" y="0"/>
                </a:lnTo>
                <a:lnTo>
                  <a:pt x="2103" y="0"/>
                </a:lnTo>
                <a:lnTo>
                  <a:pt x="2804" y="0"/>
                </a:lnTo>
                <a:lnTo>
                  <a:pt x="2804" y="702"/>
                </a:lnTo>
                <a:lnTo>
                  <a:pt x="2804" y="1403"/>
                </a:lnTo>
                <a:lnTo>
                  <a:pt x="2804" y="2105"/>
                </a:lnTo>
                <a:lnTo>
                  <a:pt x="2804" y="2806"/>
                </a:lnTo>
                <a:lnTo>
                  <a:pt x="2103" y="2806"/>
                </a:lnTo>
                <a:lnTo>
                  <a:pt x="1401" y="2806"/>
                </a:lnTo>
                <a:lnTo>
                  <a:pt x="700" y="2806"/>
                </a:lnTo>
                <a:lnTo>
                  <a:pt x="0" y="2806"/>
                </a:lnTo>
                <a:lnTo>
                  <a:pt x="0" y="2105"/>
                </a:lnTo>
                <a:lnTo>
                  <a:pt x="0" y="1403"/>
                </a:lnTo>
                <a:lnTo>
                  <a:pt x="0" y="702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0201" tIns="40100" rIns="80201" bIns="40100" numCol="1" anchor="t" anchorCtr="0" compatLnSpc="1">
            <a:prstTxWarp prst="textNoShape">
              <a:avLst/>
            </a:prstTxWarp>
          </a:bodyPr>
          <a:lstStyle/>
          <a:p>
            <a:endParaRPr lang="en-GB" sz="1579"/>
          </a:p>
        </p:txBody>
      </p:sp>
      <p:sp>
        <p:nvSpPr>
          <p:cNvPr id="10" name="Freeform 11">
            <a:hlinkClick r:id="rId5" tooltip="Instagram"/>
          </p:cNvPr>
          <p:cNvSpPr>
            <a:spLocks noChangeAspect="1" noEditPoints="1"/>
          </p:cNvSpPr>
          <p:nvPr/>
        </p:nvSpPr>
        <p:spPr bwMode="auto">
          <a:xfrm>
            <a:off x="5851984" y="684481"/>
            <a:ext cx="252600" cy="317600"/>
          </a:xfrm>
          <a:custGeom>
            <a:avLst/>
            <a:gdLst>
              <a:gd name="T0" fmla="*/ 1898 w 2806"/>
              <a:gd name="T1" fmla="*/ 704 h 2806"/>
              <a:gd name="T2" fmla="*/ 2038 w 2806"/>
              <a:gd name="T3" fmla="*/ 791 h 2806"/>
              <a:gd name="T4" fmla="*/ 2114 w 2806"/>
              <a:gd name="T5" fmla="*/ 964 h 2806"/>
              <a:gd name="T6" fmla="*/ 2126 w 2806"/>
              <a:gd name="T7" fmla="*/ 1699 h 2806"/>
              <a:gd name="T8" fmla="*/ 2072 w 2806"/>
              <a:gd name="T9" fmla="*/ 1967 h 2806"/>
              <a:gd name="T10" fmla="*/ 1954 w 2806"/>
              <a:gd name="T11" fmla="*/ 2080 h 2806"/>
              <a:gd name="T12" fmla="*/ 1699 w 2806"/>
              <a:gd name="T13" fmla="*/ 2126 h 2806"/>
              <a:gd name="T14" fmla="*/ 943 w 2806"/>
              <a:gd name="T15" fmla="*/ 2111 h 2806"/>
              <a:gd name="T16" fmla="*/ 792 w 2806"/>
              <a:gd name="T17" fmla="*/ 2038 h 2806"/>
              <a:gd name="T18" fmla="*/ 700 w 2806"/>
              <a:gd name="T19" fmla="*/ 1882 h 2806"/>
              <a:gd name="T20" fmla="*/ 678 w 2806"/>
              <a:gd name="T21" fmla="*/ 1210 h 2806"/>
              <a:gd name="T22" fmla="*/ 720 w 2806"/>
              <a:gd name="T23" fmla="*/ 866 h 2806"/>
              <a:gd name="T24" fmla="*/ 826 w 2806"/>
              <a:gd name="T25" fmla="*/ 741 h 2806"/>
              <a:gd name="T26" fmla="*/ 1029 w 2806"/>
              <a:gd name="T27" fmla="*/ 684 h 2806"/>
              <a:gd name="T28" fmla="*/ 1005 w 2806"/>
              <a:gd name="T29" fmla="*/ 526 h 2806"/>
              <a:gd name="T30" fmla="*/ 762 w 2806"/>
              <a:gd name="T31" fmla="*/ 594 h 2806"/>
              <a:gd name="T32" fmla="*/ 594 w 2806"/>
              <a:gd name="T33" fmla="*/ 761 h 2806"/>
              <a:gd name="T34" fmla="*/ 523 w 2806"/>
              <a:gd name="T35" fmla="*/ 1038 h 2806"/>
              <a:gd name="T36" fmla="*/ 533 w 2806"/>
              <a:gd name="T37" fmla="*/ 1862 h 2806"/>
              <a:gd name="T38" fmla="*/ 619 w 2806"/>
              <a:gd name="T39" fmla="*/ 2084 h 2806"/>
              <a:gd name="T40" fmla="*/ 782 w 2806"/>
              <a:gd name="T41" fmla="*/ 2222 h 2806"/>
              <a:gd name="T42" fmla="*/ 1101 w 2806"/>
              <a:gd name="T43" fmla="*/ 2284 h 2806"/>
              <a:gd name="T44" fmla="*/ 1889 w 2806"/>
              <a:gd name="T45" fmla="*/ 2268 h 2806"/>
              <a:gd name="T46" fmla="*/ 2092 w 2806"/>
              <a:gd name="T47" fmla="*/ 2180 h 2806"/>
              <a:gd name="T48" fmla="*/ 2241 w 2806"/>
              <a:gd name="T49" fmla="*/ 1982 h 2806"/>
              <a:gd name="T50" fmla="*/ 2288 w 2806"/>
              <a:gd name="T51" fmla="*/ 1548 h 2806"/>
              <a:gd name="T52" fmla="*/ 2259 w 2806"/>
              <a:gd name="T53" fmla="*/ 880 h 2806"/>
              <a:gd name="T54" fmla="*/ 2165 w 2806"/>
              <a:gd name="T55" fmla="*/ 694 h 2806"/>
              <a:gd name="T56" fmla="*/ 1961 w 2806"/>
              <a:gd name="T57" fmla="*/ 557 h 2806"/>
              <a:gd name="T58" fmla="*/ 1403 w 2806"/>
              <a:gd name="T59" fmla="*/ 518 h 2806"/>
              <a:gd name="T60" fmla="*/ 1168 w 2806"/>
              <a:gd name="T61" fmla="*/ 1015 h 2806"/>
              <a:gd name="T62" fmla="*/ 994 w 2806"/>
              <a:gd name="T63" fmla="*/ 1206 h 2806"/>
              <a:gd name="T64" fmla="*/ 951 w 2806"/>
              <a:gd name="T65" fmla="*/ 1449 h 2806"/>
              <a:gd name="T66" fmla="*/ 1053 w 2806"/>
              <a:gd name="T67" fmla="*/ 1691 h 2806"/>
              <a:gd name="T68" fmla="*/ 1268 w 2806"/>
              <a:gd name="T69" fmla="*/ 1836 h 2806"/>
              <a:gd name="T70" fmla="*/ 1517 w 2806"/>
              <a:gd name="T71" fmla="*/ 1842 h 2806"/>
              <a:gd name="T72" fmla="*/ 1740 w 2806"/>
              <a:gd name="T73" fmla="*/ 1709 h 2806"/>
              <a:gd name="T74" fmla="*/ 1848 w 2806"/>
              <a:gd name="T75" fmla="*/ 1495 h 2806"/>
              <a:gd name="T76" fmla="*/ 1821 w 2806"/>
              <a:gd name="T77" fmla="*/ 1226 h 2806"/>
              <a:gd name="T78" fmla="*/ 1657 w 2806"/>
              <a:gd name="T79" fmla="*/ 1027 h 2806"/>
              <a:gd name="T80" fmla="*/ 1427 w 2806"/>
              <a:gd name="T81" fmla="*/ 949 h 2806"/>
              <a:gd name="T82" fmla="*/ 1262 w 2806"/>
              <a:gd name="T83" fmla="*/ 1662 h 2806"/>
              <a:gd name="T84" fmla="*/ 1143 w 2806"/>
              <a:gd name="T85" fmla="*/ 1543 h 2806"/>
              <a:gd name="T86" fmla="*/ 1110 w 2806"/>
              <a:gd name="T87" fmla="*/ 1373 h 2806"/>
              <a:gd name="T88" fmla="*/ 1175 w 2806"/>
              <a:gd name="T89" fmla="*/ 1215 h 2806"/>
              <a:gd name="T90" fmla="*/ 1315 w 2806"/>
              <a:gd name="T91" fmla="*/ 1121 h 2806"/>
              <a:gd name="T92" fmla="*/ 1491 w 2806"/>
              <a:gd name="T93" fmla="*/ 1121 h 2806"/>
              <a:gd name="T94" fmla="*/ 1631 w 2806"/>
              <a:gd name="T95" fmla="*/ 1215 h 2806"/>
              <a:gd name="T96" fmla="*/ 1696 w 2806"/>
              <a:gd name="T97" fmla="*/ 1373 h 2806"/>
              <a:gd name="T98" fmla="*/ 1662 w 2806"/>
              <a:gd name="T99" fmla="*/ 1543 h 2806"/>
              <a:gd name="T100" fmla="*/ 1544 w 2806"/>
              <a:gd name="T101" fmla="*/ 1662 h 2806"/>
              <a:gd name="T102" fmla="*/ 1769 w 2806"/>
              <a:gd name="T103" fmla="*/ 921 h 2806"/>
              <a:gd name="T104" fmla="*/ 1834 w 2806"/>
              <a:gd name="T105" fmla="*/ 833 h 2806"/>
              <a:gd name="T106" fmla="*/ 1946 w 2806"/>
              <a:gd name="T107" fmla="*/ 852 h 2806"/>
              <a:gd name="T108" fmla="*/ 1976 w 2806"/>
              <a:gd name="T109" fmla="*/ 963 h 2806"/>
              <a:gd name="T110" fmla="*/ 1897 w 2806"/>
              <a:gd name="T111" fmla="*/ 1034 h 2806"/>
              <a:gd name="T112" fmla="*/ 1793 w 2806"/>
              <a:gd name="T113" fmla="*/ 998 h 2806"/>
              <a:gd name="T114" fmla="*/ 2806 w 2806"/>
              <a:gd name="T115" fmla="*/ 0 h 2806"/>
              <a:gd name="T116" fmla="*/ 0 w 2806"/>
              <a:gd name="T117" fmla="*/ 0 h 28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806" h="2806">
                <a:moveTo>
                  <a:pt x="1403" y="678"/>
                </a:moveTo>
                <a:lnTo>
                  <a:pt x="1545" y="678"/>
                </a:lnTo>
                <a:lnTo>
                  <a:pt x="1595" y="678"/>
                </a:lnTo>
                <a:lnTo>
                  <a:pt x="1636" y="679"/>
                </a:lnTo>
                <a:lnTo>
                  <a:pt x="1699" y="681"/>
                </a:lnTo>
                <a:lnTo>
                  <a:pt x="1761" y="683"/>
                </a:lnTo>
                <a:lnTo>
                  <a:pt x="1790" y="685"/>
                </a:lnTo>
                <a:lnTo>
                  <a:pt x="1818" y="688"/>
                </a:lnTo>
                <a:lnTo>
                  <a:pt x="1842" y="692"/>
                </a:lnTo>
                <a:lnTo>
                  <a:pt x="1863" y="695"/>
                </a:lnTo>
                <a:lnTo>
                  <a:pt x="1882" y="699"/>
                </a:lnTo>
                <a:lnTo>
                  <a:pt x="1898" y="704"/>
                </a:lnTo>
                <a:lnTo>
                  <a:pt x="1912" y="709"/>
                </a:lnTo>
                <a:lnTo>
                  <a:pt x="1925" y="714"/>
                </a:lnTo>
                <a:lnTo>
                  <a:pt x="1940" y="720"/>
                </a:lnTo>
                <a:lnTo>
                  <a:pt x="1954" y="726"/>
                </a:lnTo>
                <a:lnTo>
                  <a:pt x="1967" y="734"/>
                </a:lnTo>
                <a:lnTo>
                  <a:pt x="1980" y="741"/>
                </a:lnTo>
                <a:lnTo>
                  <a:pt x="1992" y="750"/>
                </a:lnTo>
                <a:lnTo>
                  <a:pt x="2003" y="758"/>
                </a:lnTo>
                <a:lnTo>
                  <a:pt x="2009" y="763"/>
                </a:lnTo>
                <a:lnTo>
                  <a:pt x="2014" y="768"/>
                </a:lnTo>
                <a:lnTo>
                  <a:pt x="2027" y="779"/>
                </a:lnTo>
                <a:lnTo>
                  <a:pt x="2038" y="791"/>
                </a:lnTo>
                <a:lnTo>
                  <a:pt x="2048" y="803"/>
                </a:lnTo>
                <a:lnTo>
                  <a:pt x="2056" y="814"/>
                </a:lnTo>
                <a:lnTo>
                  <a:pt x="2065" y="827"/>
                </a:lnTo>
                <a:lnTo>
                  <a:pt x="2072" y="839"/>
                </a:lnTo>
                <a:lnTo>
                  <a:pt x="2080" y="852"/>
                </a:lnTo>
                <a:lnTo>
                  <a:pt x="2086" y="866"/>
                </a:lnTo>
                <a:lnTo>
                  <a:pt x="2092" y="881"/>
                </a:lnTo>
                <a:lnTo>
                  <a:pt x="2097" y="893"/>
                </a:lnTo>
                <a:lnTo>
                  <a:pt x="2102" y="908"/>
                </a:lnTo>
                <a:lnTo>
                  <a:pt x="2106" y="924"/>
                </a:lnTo>
                <a:lnTo>
                  <a:pt x="2111" y="943"/>
                </a:lnTo>
                <a:lnTo>
                  <a:pt x="2114" y="964"/>
                </a:lnTo>
                <a:lnTo>
                  <a:pt x="2118" y="987"/>
                </a:lnTo>
                <a:lnTo>
                  <a:pt x="2121" y="1015"/>
                </a:lnTo>
                <a:lnTo>
                  <a:pt x="2122" y="1029"/>
                </a:lnTo>
                <a:lnTo>
                  <a:pt x="2123" y="1046"/>
                </a:lnTo>
                <a:lnTo>
                  <a:pt x="2126" y="1107"/>
                </a:lnTo>
                <a:lnTo>
                  <a:pt x="2127" y="1170"/>
                </a:lnTo>
                <a:lnTo>
                  <a:pt x="2128" y="1261"/>
                </a:lnTo>
                <a:lnTo>
                  <a:pt x="2128" y="1403"/>
                </a:lnTo>
                <a:lnTo>
                  <a:pt x="2128" y="1545"/>
                </a:lnTo>
                <a:lnTo>
                  <a:pt x="2128" y="1595"/>
                </a:lnTo>
                <a:lnTo>
                  <a:pt x="2127" y="1636"/>
                </a:lnTo>
                <a:lnTo>
                  <a:pt x="2126" y="1699"/>
                </a:lnTo>
                <a:lnTo>
                  <a:pt x="2123" y="1761"/>
                </a:lnTo>
                <a:lnTo>
                  <a:pt x="2121" y="1790"/>
                </a:lnTo>
                <a:lnTo>
                  <a:pt x="2118" y="1818"/>
                </a:lnTo>
                <a:lnTo>
                  <a:pt x="2114" y="1842"/>
                </a:lnTo>
                <a:lnTo>
                  <a:pt x="2111" y="1863"/>
                </a:lnTo>
                <a:lnTo>
                  <a:pt x="2106" y="1882"/>
                </a:lnTo>
                <a:lnTo>
                  <a:pt x="2102" y="1898"/>
                </a:lnTo>
                <a:lnTo>
                  <a:pt x="2097" y="1912"/>
                </a:lnTo>
                <a:lnTo>
                  <a:pt x="2092" y="1924"/>
                </a:lnTo>
                <a:lnTo>
                  <a:pt x="2086" y="1940"/>
                </a:lnTo>
                <a:lnTo>
                  <a:pt x="2080" y="1954"/>
                </a:lnTo>
                <a:lnTo>
                  <a:pt x="2072" y="1967"/>
                </a:lnTo>
                <a:lnTo>
                  <a:pt x="2065" y="1980"/>
                </a:lnTo>
                <a:lnTo>
                  <a:pt x="2056" y="1991"/>
                </a:lnTo>
                <a:lnTo>
                  <a:pt x="2048" y="2003"/>
                </a:lnTo>
                <a:lnTo>
                  <a:pt x="2043" y="2009"/>
                </a:lnTo>
                <a:lnTo>
                  <a:pt x="2038" y="2014"/>
                </a:lnTo>
                <a:lnTo>
                  <a:pt x="2027" y="2027"/>
                </a:lnTo>
                <a:lnTo>
                  <a:pt x="2014" y="2038"/>
                </a:lnTo>
                <a:lnTo>
                  <a:pt x="2003" y="2048"/>
                </a:lnTo>
                <a:lnTo>
                  <a:pt x="1992" y="2056"/>
                </a:lnTo>
                <a:lnTo>
                  <a:pt x="1980" y="2065"/>
                </a:lnTo>
                <a:lnTo>
                  <a:pt x="1967" y="2072"/>
                </a:lnTo>
                <a:lnTo>
                  <a:pt x="1954" y="2080"/>
                </a:lnTo>
                <a:lnTo>
                  <a:pt x="1940" y="2086"/>
                </a:lnTo>
                <a:lnTo>
                  <a:pt x="1925" y="2092"/>
                </a:lnTo>
                <a:lnTo>
                  <a:pt x="1912" y="2097"/>
                </a:lnTo>
                <a:lnTo>
                  <a:pt x="1898" y="2102"/>
                </a:lnTo>
                <a:lnTo>
                  <a:pt x="1882" y="2106"/>
                </a:lnTo>
                <a:lnTo>
                  <a:pt x="1863" y="2111"/>
                </a:lnTo>
                <a:lnTo>
                  <a:pt x="1842" y="2115"/>
                </a:lnTo>
                <a:lnTo>
                  <a:pt x="1818" y="2118"/>
                </a:lnTo>
                <a:lnTo>
                  <a:pt x="1790" y="2121"/>
                </a:lnTo>
                <a:lnTo>
                  <a:pt x="1777" y="2122"/>
                </a:lnTo>
                <a:lnTo>
                  <a:pt x="1761" y="2123"/>
                </a:lnTo>
                <a:lnTo>
                  <a:pt x="1699" y="2126"/>
                </a:lnTo>
                <a:lnTo>
                  <a:pt x="1636" y="2127"/>
                </a:lnTo>
                <a:lnTo>
                  <a:pt x="1545" y="2128"/>
                </a:lnTo>
                <a:lnTo>
                  <a:pt x="1403" y="2128"/>
                </a:lnTo>
                <a:lnTo>
                  <a:pt x="1261" y="2128"/>
                </a:lnTo>
                <a:lnTo>
                  <a:pt x="1211" y="2127"/>
                </a:lnTo>
                <a:lnTo>
                  <a:pt x="1170" y="2127"/>
                </a:lnTo>
                <a:lnTo>
                  <a:pt x="1107" y="2126"/>
                </a:lnTo>
                <a:lnTo>
                  <a:pt x="1045" y="2123"/>
                </a:lnTo>
                <a:lnTo>
                  <a:pt x="1015" y="2121"/>
                </a:lnTo>
                <a:lnTo>
                  <a:pt x="989" y="2118"/>
                </a:lnTo>
                <a:lnTo>
                  <a:pt x="964" y="2115"/>
                </a:lnTo>
                <a:lnTo>
                  <a:pt x="943" y="2111"/>
                </a:lnTo>
                <a:lnTo>
                  <a:pt x="924" y="2106"/>
                </a:lnTo>
                <a:lnTo>
                  <a:pt x="908" y="2102"/>
                </a:lnTo>
                <a:lnTo>
                  <a:pt x="893" y="2097"/>
                </a:lnTo>
                <a:lnTo>
                  <a:pt x="881" y="2092"/>
                </a:lnTo>
                <a:lnTo>
                  <a:pt x="866" y="2086"/>
                </a:lnTo>
                <a:lnTo>
                  <a:pt x="852" y="2080"/>
                </a:lnTo>
                <a:lnTo>
                  <a:pt x="839" y="2072"/>
                </a:lnTo>
                <a:lnTo>
                  <a:pt x="826" y="2065"/>
                </a:lnTo>
                <a:lnTo>
                  <a:pt x="814" y="2056"/>
                </a:lnTo>
                <a:lnTo>
                  <a:pt x="803" y="2048"/>
                </a:lnTo>
                <a:lnTo>
                  <a:pt x="797" y="2043"/>
                </a:lnTo>
                <a:lnTo>
                  <a:pt x="792" y="2038"/>
                </a:lnTo>
                <a:lnTo>
                  <a:pt x="779" y="2027"/>
                </a:lnTo>
                <a:lnTo>
                  <a:pt x="768" y="2014"/>
                </a:lnTo>
                <a:lnTo>
                  <a:pt x="758" y="2003"/>
                </a:lnTo>
                <a:lnTo>
                  <a:pt x="750" y="1991"/>
                </a:lnTo>
                <a:lnTo>
                  <a:pt x="741" y="1980"/>
                </a:lnTo>
                <a:lnTo>
                  <a:pt x="734" y="1967"/>
                </a:lnTo>
                <a:lnTo>
                  <a:pt x="726" y="1954"/>
                </a:lnTo>
                <a:lnTo>
                  <a:pt x="720" y="1940"/>
                </a:lnTo>
                <a:lnTo>
                  <a:pt x="714" y="1924"/>
                </a:lnTo>
                <a:lnTo>
                  <a:pt x="709" y="1912"/>
                </a:lnTo>
                <a:lnTo>
                  <a:pt x="704" y="1898"/>
                </a:lnTo>
                <a:lnTo>
                  <a:pt x="700" y="1882"/>
                </a:lnTo>
                <a:lnTo>
                  <a:pt x="695" y="1863"/>
                </a:lnTo>
                <a:lnTo>
                  <a:pt x="692" y="1842"/>
                </a:lnTo>
                <a:lnTo>
                  <a:pt x="688" y="1818"/>
                </a:lnTo>
                <a:lnTo>
                  <a:pt x="685" y="1790"/>
                </a:lnTo>
                <a:lnTo>
                  <a:pt x="684" y="1776"/>
                </a:lnTo>
                <a:lnTo>
                  <a:pt x="683" y="1761"/>
                </a:lnTo>
                <a:lnTo>
                  <a:pt x="680" y="1699"/>
                </a:lnTo>
                <a:lnTo>
                  <a:pt x="679" y="1636"/>
                </a:lnTo>
                <a:lnTo>
                  <a:pt x="678" y="1545"/>
                </a:lnTo>
                <a:lnTo>
                  <a:pt x="678" y="1403"/>
                </a:lnTo>
                <a:lnTo>
                  <a:pt x="678" y="1261"/>
                </a:lnTo>
                <a:lnTo>
                  <a:pt x="678" y="1210"/>
                </a:lnTo>
                <a:lnTo>
                  <a:pt x="679" y="1170"/>
                </a:lnTo>
                <a:lnTo>
                  <a:pt x="680" y="1107"/>
                </a:lnTo>
                <a:lnTo>
                  <a:pt x="683" y="1046"/>
                </a:lnTo>
                <a:lnTo>
                  <a:pt x="685" y="1015"/>
                </a:lnTo>
                <a:lnTo>
                  <a:pt x="688" y="987"/>
                </a:lnTo>
                <a:lnTo>
                  <a:pt x="692" y="964"/>
                </a:lnTo>
                <a:lnTo>
                  <a:pt x="695" y="943"/>
                </a:lnTo>
                <a:lnTo>
                  <a:pt x="700" y="924"/>
                </a:lnTo>
                <a:lnTo>
                  <a:pt x="704" y="908"/>
                </a:lnTo>
                <a:lnTo>
                  <a:pt x="709" y="893"/>
                </a:lnTo>
                <a:lnTo>
                  <a:pt x="714" y="881"/>
                </a:lnTo>
                <a:lnTo>
                  <a:pt x="720" y="866"/>
                </a:lnTo>
                <a:lnTo>
                  <a:pt x="726" y="852"/>
                </a:lnTo>
                <a:lnTo>
                  <a:pt x="734" y="839"/>
                </a:lnTo>
                <a:lnTo>
                  <a:pt x="741" y="827"/>
                </a:lnTo>
                <a:lnTo>
                  <a:pt x="750" y="814"/>
                </a:lnTo>
                <a:lnTo>
                  <a:pt x="758" y="803"/>
                </a:lnTo>
                <a:lnTo>
                  <a:pt x="763" y="797"/>
                </a:lnTo>
                <a:lnTo>
                  <a:pt x="768" y="791"/>
                </a:lnTo>
                <a:lnTo>
                  <a:pt x="779" y="779"/>
                </a:lnTo>
                <a:lnTo>
                  <a:pt x="792" y="768"/>
                </a:lnTo>
                <a:lnTo>
                  <a:pt x="803" y="758"/>
                </a:lnTo>
                <a:lnTo>
                  <a:pt x="814" y="750"/>
                </a:lnTo>
                <a:lnTo>
                  <a:pt x="826" y="741"/>
                </a:lnTo>
                <a:lnTo>
                  <a:pt x="839" y="734"/>
                </a:lnTo>
                <a:lnTo>
                  <a:pt x="852" y="726"/>
                </a:lnTo>
                <a:lnTo>
                  <a:pt x="866" y="720"/>
                </a:lnTo>
                <a:lnTo>
                  <a:pt x="881" y="714"/>
                </a:lnTo>
                <a:lnTo>
                  <a:pt x="893" y="709"/>
                </a:lnTo>
                <a:lnTo>
                  <a:pt x="908" y="704"/>
                </a:lnTo>
                <a:lnTo>
                  <a:pt x="924" y="699"/>
                </a:lnTo>
                <a:lnTo>
                  <a:pt x="943" y="695"/>
                </a:lnTo>
                <a:lnTo>
                  <a:pt x="964" y="692"/>
                </a:lnTo>
                <a:lnTo>
                  <a:pt x="989" y="688"/>
                </a:lnTo>
                <a:lnTo>
                  <a:pt x="1015" y="685"/>
                </a:lnTo>
                <a:lnTo>
                  <a:pt x="1029" y="684"/>
                </a:lnTo>
                <a:lnTo>
                  <a:pt x="1045" y="683"/>
                </a:lnTo>
                <a:lnTo>
                  <a:pt x="1107" y="681"/>
                </a:lnTo>
                <a:lnTo>
                  <a:pt x="1170" y="679"/>
                </a:lnTo>
                <a:lnTo>
                  <a:pt x="1261" y="678"/>
                </a:lnTo>
                <a:lnTo>
                  <a:pt x="1403" y="678"/>
                </a:lnTo>
                <a:close/>
                <a:moveTo>
                  <a:pt x="1403" y="518"/>
                </a:moveTo>
                <a:lnTo>
                  <a:pt x="1258" y="518"/>
                </a:lnTo>
                <a:lnTo>
                  <a:pt x="1208" y="520"/>
                </a:lnTo>
                <a:lnTo>
                  <a:pt x="1165" y="520"/>
                </a:lnTo>
                <a:lnTo>
                  <a:pt x="1101" y="521"/>
                </a:lnTo>
                <a:lnTo>
                  <a:pt x="1038" y="523"/>
                </a:lnTo>
                <a:lnTo>
                  <a:pt x="1005" y="526"/>
                </a:lnTo>
                <a:lnTo>
                  <a:pt x="972" y="530"/>
                </a:lnTo>
                <a:lnTo>
                  <a:pt x="944" y="533"/>
                </a:lnTo>
                <a:lnTo>
                  <a:pt x="917" y="538"/>
                </a:lnTo>
                <a:lnTo>
                  <a:pt x="892" y="543"/>
                </a:lnTo>
                <a:lnTo>
                  <a:pt x="880" y="547"/>
                </a:lnTo>
                <a:lnTo>
                  <a:pt x="867" y="549"/>
                </a:lnTo>
                <a:lnTo>
                  <a:pt x="845" y="557"/>
                </a:lnTo>
                <a:lnTo>
                  <a:pt x="824" y="565"/>
                </a:lnTo>
                <a:lnTo>
                  <a:pt x="802" y="574"/>
                </a:lnTo>
                <a:lnTo>
                  <a:pt x="782" y="584"/>
                </a:lnTo>
                <a:lnTo>
                  <a:pt x="772" y="589"/>
                </a:lnTo>
                <a:lnTo>
                  <a:pt x="762" y="594"/>
                </a:lnTo>
                <a:lnTo>
                  <a:pt x="742" y="606"/>
                </a:lnTo>
                <a:lnTo>
                  <a:pt x="723" y="619"/>
                </a:lnTo>
                <a:lnTo>
                  <a:pt x="714" y="626"/>
                </a:lnTo>
                <a:lnTo>
                  <a:pt x="704" y="633"/>
                </a:lnTo>
                <a:lnTo>
                  <a:pt x="685" y="650"/>
                </a:lnTo>
                <a:lnTo>
                  <a:pt x="667" y="667"/>
                </a:lnTo>
                <a:lnTo>
                  <a:pt x="650" y="685"/>
                </a:lnTo>
                <a:lnTo>
                  <a:pt x="633" y="704"/>
                </a:lnTo>
                <a:lnTo>
                  <a:pt x="619" y="723"/>
                </a:lnTo>
                <a:lnTo>
                  <a:pt x="612" y="732"/>
                </a:lnTo>
                <a:lnTo>
                  <a:pt x="606" y="742"/>
                </a:lnTo>
                <a:lnTo>
                  <a:pt x="594" y="761"/>
                </a:lnTo>
                <a:lnTo>
                  <a:pt x="584" y="782"/>
                </a:lnTo>
                <a:lnTo>
                  <a:pt x="574" y="802"/>
                </a:lnTo>
                <a:lnTo>
                  <a:pt x="565" y="824"/>
                </a:lnTo>
                <a:lnTo>
                  <a:pt x="557" y="845"/>
                </a:lnTo>
                <a:lnTo>
                  <a:pt x="551" y="867"/>
                </a:lnTo>
                <a:lnTo>
                  <a:pt x="543" y="891"/>
                </a:lnTo>
                <a:lnTo>
                  <a:pt x="541" y="904"/>
                </a:lnTo>
                <a:lnTo>
                  <a:pt x="538" y="917"/>
                </a:lnTo>
                <a:lnTo>
                  <a:pt x="533" y="944"/>
                </a:lnTo>
                <a:lnTo>
                  <a:pt x="530" y="973"/>
                </a:lnTo>
                <a:lnTo>
                  <a:pt x="526" y="1005"/>
                </a:lnTo>
                <a:lnTo>
                  <a:pt x="523" y="1038"/>
                </a:lnTo>
                <a:lnTo>
                  <a:pt x="521" y="1101"/>
                </a:lnTo>
                <a:lnTo>
                  <a:pt x="520" y="1166"/>
                </a:lnTo>
                <a:lnTo>
                  <a:pt x="518" y="1258"/>
                </a:lnTo>
                <a:lnTo>
                  <a:pt x="518" y="1403"/>
                </a:lnTo>
                <a:lnTo>
                  <a:pt x="518" y="1548"/>
                </a:lnTo>
                <a:lnTo>
                  <a:pt x="520" y="1599"/>
                </a:lnTo>
                <a:lnTo>
                  <a:pt x="520" y="1639"/>
                </a:lnTo>
                <a:lnTo>
                  <a:pt x="521" y="1705"/>
                </a:lnTo>
                <a:lnTo>
                  <a:pt x="523" y="1768"/>
                </a:lnTo>
                <a:lnTo>
                  <a:pt x="526" y="1801"/>
                </a:lnTo>
                <a:lnTo>
                  <a:pt x="530" y="1832"/>
                </a:lnTo>
                <a:lnTo>
                  <a:pt x="533" y="1862"/>
                </a:lnTo>
                <a:lnTo>
                  <a:pt x="538" y="1889"/>
                </a:lnTo>
                <a:lnTo>
                  <a:pt x="543" y="1914"/>
                </a:lnTo>
                <a:lnTo>
                  <a:pt x="547" y="1926"/>
                </a:lnTo>
                <a:lnTo>
                  <a:pt x="551" y="1938"/>
                </a:lnTo>
                <a:lnTo>
                  <a:pt x="557" y="1961"/>
                </a:lnTo>
                <a:lnTo>
                  <a:pt x="565" y="1982"/>
                </a:lnTo>
                <a:lnTo>
                  <a:pt x="574" y="2003"/>
                </a:lnTo>
                <a:lnTo>
                  <a:pt x="584" y="2024"/>
                </a:lnTo>
                <a:lnTo>
                  <a:pt x="589" y="2034"/>
                </a:lnTo>
                <a:lnTo>
                  <a:pt x="594" y="2044"/>
                </a:lnTo>
                <a:lnTo>
                  <a:pt x="606" y="2064"/>
                </a:lnTo>
                <a:lnTo>
                  <a:pt x="619" y="2084"/>
                </a:lnTo>
                <a:lnTo>
                  <a:pt x="626" y="2092"/>
                </a:lnTo>
                <a:lnTo>
                  <a:pt x="633" y="2102"/>
                </a:lnTo>
                <a:lnTo>
                  <a:pt x="641" y="2111"/>
                </a:lnTo>
                <a:lnTo>
                  <a:pt x="650" y="2121"/>
                </a:lnTo>
                <a:lnTo>
                  <a:pt x="667" y="2139"/>
                </a:lnTo>
                <a:lnTo>
                  <a:pt x="685" y="2157"/>
                </a:lnTo>
                <a:lnTo>
                  <a:pt x="704" y="2173"/>
                </a:lnTo>
                <a:lnTo>
                  <a:pt x="723" y="2186"/>
                </a:lnTo>
                <a:lnTo>
                  <a:pt x="732" y="2194"/>
                </a:lnTo>
                <a:lnTo>
                  <a:pt x="742" y="2200"/>
                </a:lnTo>
                <a:lnTo>
                  <a:pt x="762" y="2211"/>
                </a:lnTo>
                <a:lnTo>
                  <a:pt x="782" y="2222"/>
                </a:lnTo>
                <a:lnTo>
                  <a:pt x="802" y="2232"/>
                </a:lnTo>
                <a:lnTo>
                  <a:pt x="824" y="2241"/>
                </a:lnTo>
                <a:lnTo>
                  <a:pt x="845" y="2248"/>
                </a:lnTo>
                <a:lnTo>
                  <a:pt x="867" y="2256"/>
                </a:lnTo>
                <a:lnTo>
                  <a:pt x="892" y="2262"/>
                </a:lnTo>
                <a:lnTo>
                  <a:pt x="904" y="2265"/>
                </a:lnTo>
                <a:lnTo>
                  <a:pt x="917" y="2268"/>
                </a:lnTo>
                <a:lnTo>
                  <a:pt x="944" y="2273"/>
                </a:lnTo>
                <a:lnTo>
                  <a:pt x="972" y="2277"/>
                </a:lnTo>
                <a:lnTo>
                  <a:pt x="1005" y="2280"/>
                </a:lnTo>
                <a:lnTo>
                  <a:pt x="1038" y="2282"/>
                </a:lnTo>
                <a:lnTo>
                  <a:pt x="1101" y="2284"/>
                </a:lnTo>
                <a:lnTo>
                  <a:pt x="1165" y="2287"/>
                </a:lnTo>
                <a:lnTo>
                  <a:pt x="1258" y="2287"/>
                </a:lnTo>
                <a:lnTo>
                  <a:pt x="1403" y="2288"/>
                </a:lnTo>
                <a:lnTo>
                  <a:pt x="1548" y="2287"/>
                </a:lnTo>
                <a:lnTo>
                  <a:pt x="1599" y="2287"/>
                </a:lnTo>
                <a:lnTo>
                  <a:pt x="1641" y="2287"/>
                </a:lnTo>
                <a:lnTo>
                  <a:pt x="1705" y="2284"/>
                </a:lnTo>
                <a:lnTo>
                  <a:pt x="1768" y="2282"/>
                </a:lnTo>
                <a:lnTo>
                  <a:pt x="1801" y="2280"/>
                </a:lnTo>
                <a:lnTo>
                  <a:pt x="1834" y="2277"/>
                </a:lnTo>
                <a:lnTo>
                  <a:pt x="1862" y="2273"/>
                </a:lnTo>
                <a:lnTo>
                  <a:pt x="1889" y="2268"/>
                </a:lnTo>
                <a:lnTo>
                  <a:pt x="1914" y="2262"/>
                </a:lnTo>
                <a:lnTo>
                  <a:pt x="1926" y="2259"/>
                </a:lnTo>
                <a:lnTo>
                  <a:pt x="1939" y="2256"/>
                </a:lnTo>
                <a:lnTo>
                  <a:pt x="1961" y="2248"/>
                </a:lnTo>
                <a:lnTo>
                  <a:pt x="1982" y="2241"/>
                </a:lnTo>
                <a:lnTo>
                  <a:pt x="2004" y="2232"/>
                </a:lnTo>
                <a:lnTo>
                  <a:pt x="2024" y="2222"/>
                </a:lnTo>
                <a:lnTo>
                  <a:pt x="2034" y="2217"/>
                </a:lnTo>
                <a:lnTo>
                  <a:pt x="2044" y="2211"/>
                </a:lnTo>
                <a:lnTo>
                  <a:pt x="2064" y="2200"/>
                </a:lnTo>
                <a:lnTo>
                  <a:pt x="2084" y="2186"/>
                </a:lnTo>
                <a:lnTo>
                  <a:pt x="2092" y="2180"/>
                </a:lnTo>
                <a:lnTo>
                  <a:pt x="2102" y="2173"/>
                </a:lnTo>
                <a:lnTo>
                  <a:pt x="2121" y="2157"/>
                </a:lnTo>
                <a:lnTo>
                  <a:pt x="2139" y="2139"/>
                </a:lnTo>
                <a:lnTo>
                  <a:pt x="2157" y="2121"/>
                </a:lnTo>
                <a:lnTo>
                  <a:pt x="2173" y="2102"/>
                </a:lnTo>
                <a:lnTo>
                  <a:pt x="2187" y="2084"/>
                </a:lnTo>
                <a:lnTo>
                  <a:pt x="2194" y="2074"/>
                </a:lnTo>
                <a:lnTo>
                  <a:pt x="2200" y="2064"/>
                </a:lnTo>
                <a:lnTo>
                  <a:pt x="2212" y="2044"/>
                </a:lnTo>
                <a:lnTo>
                  <a:pt x="2222" y="2024"/>
                </a:lnTo>
                <a:lnTo>
                  <a:pt x="2232" y="2003"/>
                </a:lnTo>
                <a:lnTo>
                  <a:pt x="2241" y="1982"/>
                </a:lnTo>
                <a:lnTo>
                  <a:pt x="2249" y="1961"/>
                </a:lnTo>
                <a:lnTo>
                  <a:pt x="2256" y="1938"/>
                </a:lnTo>
                <a:lnTo>
                  <a:pt x="2263" y="1914"/>
                </a:lnTo>
                <a:lnTo>
                  <a:pt x="2265" y="1902"/>
                </a:lnTo>
                <a:lnTo>
                  <a:pt x="2268" y="1889"/>
                </a:lnTo>
                <a:lnTo>
                  <a:pt x="2273" y="1862"/>
                </a:lnTo>
                <a:lnTo>
                  <a:pt x="2277" y="1832"/>
                </a:lnTo>
                <a:lnTo>
                  <a:pt x="2280" y="1801"/>
                </a:lnTo>
                <a:lnTo>
                  <a:pt x="2281" y="1768"/>
                </a:lnTo>
                <a:lnTo>
                  <a:pt x="2285" y="1705"/>
                </a:lnTo>
                <a:lnTo>
                  <a:pt x="2286" y="1639"/>
                </a:lnTo>
                <a:lnTo>
                  <a:pt x="2288" y="1548"/>
                </a:lnTo>
                <a:lnTo>
                  <a:pt x="2288" y="1403"/>
                </a:lnTo>
                <a:lnTo>
                  <a:pt x="2288" y="1258"/>
                </a:lnTo>
                <a:lnTo>
                  <a:pt x="2286" y="1206"/>
                </a:lnTo>
                <a:lnTo>
                  <a:pt x="2286" y="1166"/>
                </a:lnTo>
                <a:lnTo>
                  <a:pt x="2285" y="1101"/>
                </a:lnTo>
                <a:lnTo>
                  <a:pt x="2281" y="1038"/>
                </a:lnTo>
                <a:lnTo>
                  <a:pt x="2280" y="1005"/>
                </a:lnTo>
                <a:lnTo>
                  <a:pt x="2277" y="973"/>
                </a:lnTo>
                <a:lnTo>
                  <a:pt x="2273" y="944"/>
                </a:lnTo>
                <a:lnTo>
                  <a:pt x="2268" y="917"/>
                </a:lnTo>
                <a:lnTo>
                  <a:pt x="2263" y="891"/>
                </a:lnTo>
                <a:lnTo>
                  <a:pt x="2259" y="880"/>
                </a:lnTo>
                <a:lnTo>
                  <a:pt x="2256" y="867"/>
                </a:lnTo>
                <a:lnTo>
                  <a:pt x="2249" y="845"/>
                </a:lnTo>
                <a:lnTo>
                  <a:pt x="2241" y="824"/>
                </a:lnTo>
                <a:lnTo>
                  <a:pt x="2232" y="802"/>
                </a:lnTo>
                <a:lnTo>
                  <a:pt x="2222" y="782"/>
                </a:lnTo>
                <a:lnTo>
                  <a:pt x="2217" y="771"/>
                </a:lnTo>
                <a:lnTo>
                  <a:pt x="2212" y="761"/>
                </a:lnTo>
                <a:lnTo>
                  <a:pt x="2200" y="742"/>
                </a:lnTo>
                <a:lnTo>
                  <a:pt x="2187" y="723"/>
                </a:lnTo>
                <a:lnTo>
                  <a:pt x="2180" y="714"/>
                </a:lnTo>
                <a:lnTo>
                  <a:pt x="2173" y="704"/>
                </a:lnTo>
                <a:lnTo>
                  <a:pt x="2165" y="694"/>
                </a:lnTo>
                <a:lnTo>
                  <a:pt x="2157" y="685"/>
                </a:lnTo>
                <a:lnTo>
                  <a:pt x="2139" y="667"/>
                </a:lnTo>
                <a:lnTo>
                  <a:pt x="2121" y="650"/>
                </a:lnTo>
                <a:lnTo>
                  <a:pt x="2102" y="633"/>
                </a:lnTo>
                <a:lnTo>
                  <a:pt x="2084" y="619"/>
                </a:lnTo>
                <a:lnTo>
                  <a:pt x="2074" y="612"/>
                </a:lnTo>
                <a:lnTo>
                  <a:pt x="2064" y="606"/>
                </a:lnTo>
                <a:lnTo>
                  <a:pt x="2044" y="594"/>
                </a:lnTo>
                <a:lnTo>
                  <a:pt x="2024" y="584"/>
                </a:lnTo>
                <a:lnTo>
                  <a:pt x="2004" y="574"/>
                </a:lnTo>
                <a:lnTo>
                  <a:pt x="1982" y="565"/>
                </a:lnTo>
                <a:lnTo>
                  <a:pt x="1961" y="557"/>
                </a:lnTo>
                <a:lnTo>
                  <a:pt x="1939" y="549"/>
                </a:lnTo>
                <a:lnTo>
                  <a:pt x="1914" y="543"/>
                </a:lnTo>
                <a:lnTo>
                  <a:pt x="1902" y="541"/>
                </a:lnTo>
                <a:lnTo>
                  <a:pt x="1889" y="538"/>
                </a:lnTo>
                <a:lnTo>
                  <a:pt x="1862" y="533"/>
                </a:lnTo>
                <a:lnTo>
                  <a:pt x="1834" y="530"/>
                </a:lnTo>
                <a:lnTo>
                  <a:pt x="1801" y="526"/>
                </a:lnTo>
                <a:lnTo>
                  <a:pt x="1768" y="523"/>
                </a:lnTo>
                <a:lnTo>
                  <a:pt x="1705" y="521"/>
                </a:lnTo>
                <a:lnTo>
                  <a:pt x="1641" y="520"/>
                </a:lnTo>
                <a:lnTo>
                  <a:pt x="1548" y="518"/>
                </a:lnTo>
                <a:lnTo>
                  <a:pt x="1403" y="518"/>
                </a:lnTo>
                <a:close/>
                <a:moveTo>
                  <a:pt x="1403" y="949"/>
                </a:moveTo>
                <a:lnTo>
                  <a:pt x="1380" y="949"/>
                </a:lnTo>
                <a:lnTo>
                  <a:pt x="1356" y="951"/>
                </a:lnTo>
                <a:lnTo>
                  <a:pt x="1334" y="954"/>
                </a:lnTo>
                <a:lnTo>
                  <a:pt x="1311" y="958"/>
                </a:lnTo>
                <a:lnTo>
                  <a:pt x="1289" y="963"/>
                </a:lnTo>
                <a:lnTo>
                  <a:pt x="1268" y="969"/>
                </a:lnTo>
                <a:lnTo>
                  <a:pt x="1247" y="976"/>
                </a:lnTo>
                <a:lnTo>
                  <a:pt x="1226" y="985"/>
                </a:lnTo>
                <a:lnTo>
                  <a:pt x="1206" y="994"/>
                </a:lnTo>
                <a:lnTo>
                  <a:pt x="1187" y="1003"/>
                </a:lnTo>
                <a:lnTo>
                  <a:pt x="1168" y="1015"/>
                </a:lnTo>
                <a:lnTo>
                  <a:pt x="1149" y="1027"/>
                </a:lnTo>
                <a:lnTo>
                  <a:pt x="1131" y="1039"/>
                </a:lnTo>
                <a:lnTo>
                  <a:pt x="1115" y="1053"/>
                </a:lnTo>
                <a:lnTo>
                  <a:pt x="1097" y="1067"/>
                </a:lnTo>
                <a:lnTo>
                  <a:pt x="1081" y="1081"/>
                </a:lnTo>
                <a:lnTo>
                  <a:pt x="1067" y="1097"/>
                </a:lnTo>
                <a:lnTo>
                  <a:pt x="1053" y="1114"/>
                </a:lnTo>
                <a:lnTo>
                  <a:pt x="1039" y="1131"/>
                </a:lnTo>
                <a:lnTo>
                  <a:pt x="1027" y="1149"/>
                </a:lnTo>
                <a:lnTo>
                  <a:pt x="1015" y="1168"/>
                </a:lnTo>
                <a:lnTo>
                  <a:pt x="1003" y="1187"/>
                </a:lnTo>
                <a:lnTo>
                  <a:pt x="994" y="1206"/>
                </a:lnTo>
                <a:lnTo>
                  <a:pt x="985" y="1226"/>
                </a:lnTo>
                <a:lnTo>
                  <a:pt x="976" y="1247"/>
                </a:lnTo>
                <a:lnTo>
                  <a:pt x="969" y="1268"/>
                </a:lnTo>
                <a:lnTo>
                  <a:pt x="963" y="1289"/>
                </a:lnTo>
                <a:lnTo>
                  <a:pt x="960" y="1300"/>
                </a:lnTo>
                <a:lnTo>
                  <a:pt x="958" y="1312"/>
                </a:lnTo>
                <a:lnTo>
                  <a:pt x="954" y="1334"/>
                </a:lnTo>
                <a:lnTo>
                  <a:pt x="951" y="1356"/>
                </a:lnTo>
                <a:lnTo>
                  <a:pt x="949" y="1380"/>
                </a:lnTo>
                <a:lnTo>
                  <a:pt x="949" y="1403"/>
                </a:lnTo>
                <a:lnTo>
                  <a:pt x="949" y="1427"/>
                </a:lnTo>
                <a:lnTo>
                  <a:pt x="951" y="1449"/>
                </a:lnTo>
                <a:lnTo>
                  <a:pt x="954" y="1472"/>
                </a:lnTo>
                <a:lnTo>
                  <a:pt x="958" y="1495"/>
                </a:lnTo>
                <a:lnTo>
                  <a:pt x="963" y="1517"/>
                </a:lnTo>
                <a:lnTo>
                  <a:pt x="969" y="1538"/>
                </a:lnTo>
                <a:lnTo>
                  <a:pt x="976" y="1559"/>
                </a:lnTo>
                <a:lnTo>
                  <a:pt x="985" y="1580"/>
                </a:lnTo>
                <a:lnTo>
                  <a:pt x="994" y="1600"/>
                </a:lnTo>
                <a:lnTo>
                  <a:pt x="1003" y="1620"/>
                </a:lnTo>
                <a:lnTo>
                  <a:pt x="1015" y="1638"/>
                </a:lnTo>
                <a:lnTo>
                  <a:pt x="1027" y="1657"/>
                </a:lnTo>
                <a:lnTo>
                  <a:pt x="1039" y="1674"/>
                </a:lnTo>
                <a:lnTo>
                  <a:pt x="1053" y="1691"/>
                </a:lnTo>
                <a:lnTo>
                  <a:pt x="1067" y="1709"/>
                </a:lnTo>
                <a:lnTo>
                  <a:pt x="1081" y="1724"/>
                </a:lnTo>
                <a:lnTo>
                  <a:pt x="1097" y="1740"/>
                </a:lnTo>
                <a:lnTo>
                  <a:pt x="1115" y="1753"/>
                </a:lnTo>
                <a:lnTo>
                  <a:pt x="1131" y="1767"/>
                </a:lnTo>
                <a:lnTo>
                  <a:pt x="1149" y="1779"/>
                </a:lnTo>
                <a:lnTo>
                  <a:pt x="1168" y="1792"/>
                </a:lnTo>
                <a:lnTo>
                  <a:pt x="1187" y="1803"/>
                </a:lnTo>
                <a:lnTo>
                  <a:pt x="1206" y="1813"/>
                </a:lnTo>
                <a:lnTo>
                  <a:pt x="1226" y="1821"/>
                </a:lnTo>
                <a:lnTo>
                  <a:pt x="1247" y="1830"/>
                </a:lnTo>
                <a:lnTo>
                  <a:pt x="1268" y="1836"/>
                </a:lnTo>
                <a:lnTo>
                  <a:pt x="1289" y="1842"/>
                </a:lnTo>
                <a:lnTo>
                  <a:pt x="1300" y="1846"/>
                </a:lnTo>
                <a:lnTo>
                  <a:pt x="1311" y="1847"/>
                </a:lnTo>
                <a:lnTo>
                  <a:pt x="1334" y="1852"/>
                </a:lnTo>
                <a:lnTo>
                  <a:pt x="1356" y="1855"/>
                </a:lnTo>
                <a:lnTo>
                  <a:pt x="1380" y="1856"/>
                </a:lnTo>
                <a:lnTo>
                  <a:pt x="1403" y="1857"/>
                </a:lnTo>
                <a:lnTo>
                  <a:pt x="1427" y="1856"/>
                </a:lnTo>
                <a:lnTo>
                  <a:pt x="1450" y="1855"/>
                </a:lnTo>
                <a:lnTo>
                  <a:pt x="1472" y="1852"/>
                </a:lnTo>
                <a:lnTo>
                  <a:pt x="1495" y="1847"/>
                </a:lnTo>
                <a:lnTo>
                  <a:pt x="1517" y="1842"/>
                </a:lnTo>
                <a:lnTo>
                  <a:pt x="1538" y="1836"/>
                </a:lnTo>
                <a:lnTo>
                  <a:pt x="1559" y="1830"/>
                </a:lnTo>
                <a:lnTo>
                  <a:pt x="1580" y="1821"/>
                </a:lnTo>
                <a:lnTo>
                  <a:pt x="1600" y="1813"/>
                </a:lnTo>
                <a:lnTo>
                  <a:pt x="1620" y="1803"/>
                </a:lnTo>
                <a:lnTo>
                  <a:pt x="1638" y="1792"/>
                </a:lnTo>
                <a:lnTo>
                  <a:pt x="1657" y="1779"/>
                </a:lnTo>
                <a:lnTo>
                  <a:pt x="1675" y="1767"/>
                </a:lnTo>
                <a:lnTo>
                  <a:pt x="1691" y="1753"/>
                </a:lnTo>
                <a:lnTo>
                  <a:pt x="1709" y="1740"/>
                </a:lnTo>
                <a:lnTo>
                  <a:pt x="1725" y="1724"/>
                </a:lnTo>
                <a:lnTo>
                  <a:pt x="1740" y="1709"/>
                </a:lnTo>
                <a:lnTo>
                  <a:pt x="1753" y="1691"/>
                </a:lnTo>
                <a:lnTo>
                  <a:pt x="1767" y="1674"/>
                </a:lnTo>
                <a:lnTo>
                  <a:pt x="1779" y="1657"/>
                </a:lnTo>
                <a:lnTo>
                  <a:pt x="1792" y="1638"/>
                </a:lnTo>
                <a:lnTo>
                  <a:pt x="1803" y="1620"/>
                </a:lnTo>
                <a:lnTo>
                  <a:pt x="1813" y="1600"/>
                </a:lnTo>
                <a:lnTo>
                  <a:pt x="1821" y="1580"/>
                </a:lnTo>
                <a:lnTo>
                  <a:pt x="1830" y="1559"/>
                </a:lnTo>
                <a:lnTo>
                  <a:pt x="1837" y="1538"/>
                </a:lnTo>
                <a:lnTo>
                  <a:pt x="1842" y="1517"/>
                </a:lnTo>
                <a:lnTo>
                  <a:pt x="1846" y="1506"/>
                </a:lnTo>
                <a:lnTo>
                  <a:pt x="1848" y="1495"/>
                </a:lnTo>
                <a:lnTo>
                  <a:pt x="1852" y="1472"/>
                </a:lnTo>
                <a:lnTo>
                  <a:pt x="1855" y="1449"/>
                </a:lnTo>
                <a:lnTo>
                  <a:pt x="1857" y="1427"/>
                </a:lnTo>
                <a:lnTo>
                  <a:pt x="1857" y="1403"/>
                </a:lnTo>
                <a:lnTo>
                  <a:pt x="1857" y="1380"/>
                </a:lnTo>
                <a:lnTo>
                  <a:pt x="1855" y="1356"/>
                </a:lnTo>
                <a:lnTo>
                  <a:pt x="1852" y="1334"/>
                </a:lnTo>
                <a:lnTo>
                  <a:pt x="1848" y="1312"/>
                </a:lnTo>
                <a:lnTo>
                  <a:pt x="1842" y="1289"/>
                </a:lnTo>
                <a:lnTo>
                  <a:pt x="1837" y="1268"/>
                </a:lnTo>
                <a:lnTo>
                  <a:pt x="1830" y="1247"/>
                </a:lnTo>
                <a:lnTo>
                  <a:pt x="1821" y="1226"/>
                </a:lnTo>
                <a:lnTo>
                  <a:pt x="1813" y="1206"/>
                </a:lnTo>
                <a:lnTo>
                  <a:pt x="1803" y="1187"/>
                </a:lnTo>
                <a:lnTo>
                  <a:pt x="1792" y="1168"/>
                </a:lnTo>
                <a:lnTo>
                  <a:pt x="1779" y="1149"/>
                </a:lnTo>
                <a:lnTo>
                  <a:pt x="1767" y="1131"/>
                </a:lnTo>
                <a:lnTo>
                  <a:pt x="1753" y="1114"/>
                </a:lnTo>
                <a:lnTo>
                  <a:pt x="1740" y="1097"/>
                </a:lnTo>
                <a:lnTo>
                  <a:pt x="1725" y="1081"/>
                </a:lnTo>
                <a:lnTo>
                  <a:pt x="1709" y="1067"/>
                </a:lnTo>
                <a:lnTo>
                  <a:pt x="1691" y="1053"/>
                </a:lnTo>
                <a:lnTo>
                  <a:pt x="1675" y="1039"/>
                </a:lnTo>
                <a:lnTo>
                  <a:pt x="1657" y="1027"/>
                </a:lnTo>
                <a:lnTo>
                  <a:pt x="1638" y="1015"/>
                </a:lnTo>
                <a:lnTo>
                  <a:pt x="1620" y="1003"/>
                </a:lnTo>
                <a:lnTo>
                  <a:pt x="1600" y="994"/>
                </a:lnTo>
                <a:lnTo>
                  <a:pt x="1580" y="985"/>
                </a:lnTo>
                <a:lnTo>
                  <a:pt x="1559" y="976"/>
                </a:lnTo>
                <a:lnTo>
                  <a:pt x="1538" y="969"/>
                </a:lnTo>
                <a:lnTo>
                  <a:pt x="1517" y="963"/>
                </a:lnTo>
                <a:lnTo>
                  <a:pt x="1506" y="960"/>
                </a:lnTo>
                <a:lnTo>
                  <a:pt x="1495" y="958"/>
                </a:lnTo>
                <a:lnTo>
                  <a:pt x="1472" y="954"/>
                </a:lnTo>
                <a:lnTo>
                  <a:pt x="1450" y="951"/>
                </a:lnTo>
                <a:lnTo>
                  <a:pt x="1427" y="949"/>
                </a:lnTo>
                <a:lnTo>
                  <a:pt x="1403" y="949"/>
                </a:lnTo>
                <a:close/>
                <a:moveTo>
                  <a:pt x="1403" y="1698"/>
                </a:moveTo>
                <a:lnTo>
                  <a:pt x="1388" y="1698"/>
                </a:lnTo>
                <a:lnTo>
                  <a:pt x="1373" y="1696"/>
                </a:lnTo>
                <a:lnTo>
                  <a:pt x="1359" y="1694"/>
                </a:lnTo>
                <a:lnTo>
                  <a:pt x="1344" y="1691"/>
                </a:lnTo>
                <a:lnTo>
                  <a:pt x="1329" y="1689"/>
                </a:lnTo>
                <a:lnTo>
                  <a:pt x="1315" y="1684"/>
                </a:lnTo>
                <a:lnTo>
                  <a:pt x="1302" y="1680"/>
                </a:lnTo>
                <a:lnTo>
                  <a:pt x="1288" y="1674"/>
                </a:lnTo>
                <a:lnTo>
                  <a:pt x="1276" y="1669"/>
                </a:lnTo>
                <a:lnTo>
                  <a:pt x="1262" y="1662"/>
                </a:lnTo>
                <a:lnTo>
                  <a:pt x="1250" y="1655"/>
                </a:lnTo>
                <a:lnTo>
                  <a:pt x="1238" y="1647"/>
                </a:lnTo>
                <a:lnTo>
                  <a:pt x="1226" y="1639"/>
                </a:lnTo>
                <a:lnTo>
                  <a:pt x="1215" y="1631"/>
                </a:lnTo>
                <a:lnTo>
                  <a:pt x="1205" y="1621"/>
                </a:lnTo>
                <a:lnTo>
                  <a:pt x="1195" y="1611"/>
                </a:lnTo>
                <a:lnTo>
                  <a:pt x="1185" y="1601"/>
                </a:lnTo>
                <a:lnTo>
                  <a:pt x="1175" y="1590"/>
                </a:lnTo>
                <a:lnTo>
                  <a:pt x="1167" y="1579"/>
                </a:lnTo>
                <a:lnTo>
                  <a:pt x="1158" y="1568"/>
                </a:lnTo>
                <a:lnTo>
                  <a:pt x="1151" y="1555"/>
                </a:lnTo>
                <a:lnTo>
                  <a:pt x="1143" y="1543"/>
                </a:lnTo>
                <a:lnTo>
                  <a:pt x="1137" y="1531"/>
                </a:lnTo>
                <a:lnTo>
                  <a:pt x="1131" y="1518"/>
                </a:lnTo>
                <a:lnTo>
                  <a:pt x="1126" y="1505"/>
                </a:lnTo>
                <a:lnTo>
                  <a:pt x="1121" y="1491"/>
                </a:lnTo>
                <a:lnTo>
                  <a:pt x="1117" y="1476"/>
                </a:lnTo>
                <a:lnTo>
                  <a:pt x="1115" y="1462"/>
                </a:lnTo>
                <a:lnTo>
                  <a:pt x="1111" y="1448"/>
                </a:lnTo>
                <a:lnTo>
                  <a:pt x="1110" y="1433"/>
                </a:lnTo>
                <a:lnTo>
                  <a:pt x="1109" y="1418"/>
                </a:lnTo>
                <a:lnTo>
                  <a:pt x="1109" y="1403"/>
                </a:lnTo>
                <a:lnTo>
                  <a:pt x="1109" y="1388"/>
                </a:lnTo>
                <a:lnTo>
                  <a:pt x="1110" y="1373"/>
                </a:lnTo>
                <a:lnTo>
                  <a:pt x="1111" y="1359"/>
                </a:lnTo>
                <a:lnTo>
                  <a:pt x="1115" y="1344"/>
                </a:lnTo>
                <a:lnTo>
                  <a:pt x="1117" y="1329"/>
                </a:lnTo>
                <a:lnTo>
                  <a:pt x="1121" y="1315"/>
                </a:lnTo>
                <a:lnTo>
                  <a:pt x="1126" y="1302"/>
                </a:lnTo>
                <a:lnTo>
                  <a:pt x="1131" y="1288"/>
                </a:lnTo>
                <a:lnTo>
                  <a:pt x="1137" y="1276"/>
                </a:lnTo>
                <a:lnTo>
                  <a:pt x="1143" y="1262"/>
                </a:lnTo>
                <a:lnTo>
                  <a:pt x="1151" y="1250"/>
                </a:lnTo>
                <a:lnTo>
                  <a:pt x="1158" y="1239"/>
                </a:lnTo>
                <a:lnTo>
                  <a:pt x="1167" y="1226"/>
                </a:lnTo>
                <a:lnTo>
                  <a:pt x="1175" y="1215"/>
                </a:lnTo>
                <a:lnTo>
                  <a:pt x="1185" y="1205"/>
                </a:lnTo>
                <a:lnTo>
                  <a:pt x="1195" y="1194"/>
                </a:lnTo>
                <a:lnTo>
                  <a:pt x="1205" y="1185"/>
                </a:lnTo>
                <a:lnTo>
                  <a:pt x="1215" y="1175"/>
                </a:lnTo>
                <a:lnTo>
                  <a:pt x="1226" y="1167"/>
                </a:lnTo>
                <a:lnTo>
                  <a:pt x="1238" y="1158"/>
                </a:lnTo>
                <a:lnTo>
                  <a:pt x="1250" y="1151"/>
                </a:lnTo>
                <a:lnTo>
                  <a:pt x="1262" y="1143"/>
                </a:lnTo>
                <a:lnTo>
                  <a:pt x="1276" y="1137"/>
                </a:lnTo>
                <a:lnTo>
                  <a:pt x="1288" y="1131"/>
                </a:lnTo>
                <a:lnTo>
                  <a:pt x="1302" y="1126"/>
                </a:lnTo>
                <a:lnTo>
                  <a:pt x="1315" y="1121"/>
                </a:lnTo>
                <a:lnTo>
                  <a:pt x="1329" y="1117"/>
                </a:lnTo>
                <a:lnTo>
                  <a:pt x="1344" y="1114"/>
                </a:lnTo>
                <a:lnTo>
                  <a:pt x="1359" y="1111"/>
                </a:lnTo>
                <a:lnTo>
                  <a:pt x="1373" y="1110"/>
                </a:lnTo>
                <a:lnTo>
                  <a:pt x="1388" y="1109"/>
                </a:lnTo>
                <a:lnTo>
                  <a:pt x="1403" y="1109"/>
                </a:lnTo>
                <a:lnTo>
                  <a:pt x="1418" y="1109"/>
                </a:lnTo>
                <a:lnTo>
                  <a:pt x="1433" y="1110"/>
                </a:lnTo>
                <a:lnTo>
                  <a:pt x="1448" y="1111"/>
                </a:lnTo>
                <a:lnTo>
                  <a:pt x="1462" y="1114"/>
                </a:lnTo>
                <a:lnTo>
                  <a:pt x="1477" y="1117"/>
                </a:lnTo>
                <a:lnTo>
                  <a:pt x="1491" y="1121"/>
                </a:lnTo>
                <a:lnTo>
                  <a:pt x="1505" y="1126"/>
                </a:lnTo>
                <a:lnTo>
                  <a:pt x="1518" y="1131"/>
                </a:lnTo>
                <a:lnTo>
                  <a:pt x="1530" y="1137"/>
                </a:lnTo>
                <a:lnTo>
                  <a:pt x="1544" y="1143"/>
                </a:lnTo>
                <a:lnTo>
                  <a:pt x="1556" y="1151"/>
                </a:lnTo>
                <a:lnTo>
                  <a:pt x="1568" y="1158"/>
                </a:lnTo>
                <a:lnTo>
                  <a:pt x="1580" y="1167"/>
                </a:lnTo>
                <a:lnTo>
                  <a:pt x="1591" y="1175"/>
                </a:lnTo>
                <a:lnTo>
                  <a:pt x="1601" y="1185"/>
                </a:lnTo>
                <a:lnTo>
                  <a:pt x="1611" y="1194"/>
                </a:lnTo>
                <a:lnTo>
                  <a:pt x="1621" y="1205"/>
                </a:lnTo>
                <a:lnTo>
                  <a:pt x="1631" y="1215"/>
                </a:lnTo>
                <a:lnTo>
                  <a:pt x="1639" y="1226"/>
                </a:lnTo>
                <a:lnTo>
                  <a:pt x="1648" y="1239"/>
                </a:lnTo>
                <a:lnTo>
                  <a:pt x="1655" y="1250"/>
                </a:lnTo>
                <a:lnTo>
                  <a:pt x="1662" y="1262"/>
                </a:lnTo>
                <a:lnTo>
                  <a:pt x="1669" y="1276"/>
                </a:lnTo>
                <a:lnTo>
                  <a:pt x="1675" y="1288"/>
                </a:lnTo>
                <a:lnTo>
                  <a:pt x="1680" y="1302"/>
                </a:lnTo>
                <a:lnTo>
                  <a:pt x="1685" y="1315"/>
                </a:lnTo>
                <a:lnTo>
                  <a:pt x="1689" y="1329"/>
                </a:lnTo>
                <a:lnTo>
                  <a:pt x="1691" y="1344"/>
                </a:lnTo>
                <a:lnTo>
                  <a:pt x="1694" y="1359"/>
                </a:lnTo>
                <a:lnTo>
                  <a:pt x="1696" y="1373"/>
                </a:lnTo>
                <a:lnTo>
                  <a:pt x="1698" y="1388"/>
                </a:lnTo>
                <a:lnTo>
                  <a:pt x="1698" y="1403"/>
                </a:lnTo>
                <a:lnTo>
                  <a:pt x="1698" y="1418"/>
                </a:lnTo>
                <a:lnTo>
                  <a:pt x="1696" y="1433"/>
                </a:lnTo>
                <a:lnTo>
                  <a:pt x="1694" y="1448"/>
                </a:lnTo>
                <a:lnTo>
                  <a:pt x="1691" y="1462"/>
                </a:lnTo>
                <a:lnTo>
                  <a:pt x="1689" y="1476"/>
                </a:lnTo>
                <a:lnTo>
                  <a:pt x="1685" y="1491"/>
                </a:lnTo>
                <a:lnTo>
                  <a:pt x="1680" y="1505"/>
                </a:lnTo>
                <a:lnTo>
                  <a:pt x="1675" y="1518"/>
                </a:lnTo>
                <a:lnTo>
                  <a:pt x="1669" y="1531"/>
                </a:lnTo>
                <a:lnTo>
                  <a:pt x="1662" y="1543"/>
                </a:lnTo>
                <a:lnTo>
                  <a:pt x="1655" y="1555"/>
                </a:lnTo>
                <a:lnTo>
                  <a:pt x="1648" y="1568"/>
                </a:lnTo>
                <a:lnTo>
                  <a:pt x="1639" y="1579"/>
                </a:lnTo>
                <a:lnTo>
                  <a:pt x="1631" y="1590"/>
                </a:lnTo>
                <a:lnTo>
                  <a:pt x="1621" y="1601"/>
                </a:lnTo>
                <a:lnTo>
                  <a:pt x="1611" y="1611"/>
                </a:lnTo>
                <a:lnTo>
                  <a:pt x="1601" y="1621"/>
                </a:lnTo>
                <a:lnTo>
                  <a:pt x="1591" y="1631"/>
                </a:lnTo>
                <a:lnTo>
                  <a:pt x="1580" y="1639"/>
                </a:lnTo>
                <a:lnTo>
                  <a:pt x="1568" y="1647"/>
                </a:lnTo>
                <a:lnTo>
                  <a:pt x="1556" y="1655"/>
                </a:lnTo>
                <a:lnTo>
                  <a:pt x="1544" y="1662"/>
                </a:lnTo>
                <a:lnTo>
                  <a:pt x="1530" y="1669"/>
                </a:lnTo>
                <a:lnTo>
                  <a:pt x="1518" y="1674"/>
                </a:lnTo>
                <a:lnTo>
                  <a:pt x="1505" y="1680"/>
                </a:lnTo>
                <a:lnTo>
                  <a:pt x="1491" y="1684"/>
                </a:lnTo>
                <a:lnTo>
                  <a:pt x="1477" y="1689"/>
                </a:lnTo>
                <a:lnTo>
                  <a:pt x="1462" y="1691"/>
                </a:lnTo>
                <a:lnTo>
                  <a:pt x="1448" y="1694"/>
                </a:lnTo>
                <a:lnTo>
                  <a:pt x="1433" y="1696"/>
                </a:lnTo>
                <a:lnTo>
                  <a:pt x="1418" y="1698"/>
                </a:lnTo>
                <a:lnTo>
                  <a:pt x="1403" y="1698"/>
                </a:lnTo>
                <a:close/>
                <a:moveTo>
                  <a:pt x="1769" y="930"/>
                </a:moveTo>
                <a:lnTo>
                  <a:pt x="1769" y="921"/>
                </a:lnTo>
                <a:lnTo>
                  <a:pt x="1772" y="909"/>
                </a:lnTo>
                <a:lnTo>
                  <a:pt x="1774" y="900"/>
                </a:lnTo>
                <a:lnTo>
                  <a:pt x="1778" y="890"/>
                </a:lnTo>
                <a:lnTo>
                  <a:pt x="1782" y="880"/>
                </a:lnTo>
                <a:lnTo>
                  <a:pt x="1787" y="871"/>
                </a:lnTo>
                <a:lnTo>
                  <a:pt x="1793" y="864"/>
                </a:lnTo>
                <a:lnTo>
                  <a:pt x="1796" y="860"/>
                </a:lnTo>
                <a:lnTo>
                  <a:pt x="1800" y="856"/>
                </a:lnTo>
                <a:lnTo>
                  <a:pt x="1808" y="849"/>
                </a:lnTo>
                <a:lnTo>
                  <a:pt x="1816" y="843"/>
                </a:lnTo>
                <a:lnTo>
                  <a:pt x="1825" y="838"/>
                </a:lnTo>
                <a:lnTo>
                  <a:pt x="1834" y="833"/>
                </a:lnTo>
                <a:lnTo>
                  <a:pt x="1844" y="829"/>
                </a:lnTo>
                <a:lnTo>
                  <a:pt x="1853" y="827"/>
                </a:lnTo>
                <a:lnTo>
                  <a:pt x="1865" y="825"/>
                </a:lnTo>
                <a:lnTo>
                  <a:pt x="1876" y="825"/>
                </a:lnTo>
                <a:lnTo>
                  <a:pt x="1886" y="825"/>
                </a:lnTo>
                <a:lnTo>
                  <a:pt x="1897" y="827"/>
                </a:lnTo>
                <a:lnTo>
                  <a:pt x="1907" y="829"/>
                </a:lnTo>
                <a:lnTo>
                  <a:pt x="1917" y="833"/>
                </a:lnTo>
                <a:lnTo>
                  <a:pt x="1925" y="838"/>
                </a:lnTo>
                <a:lnTo>
                  <a:pt x="1934" y="843"/>
                </a:lnTo>
                <a:lnTo>
                  <a:pt x="1942" y="849"/>
                </a:lnTo>
                <a:lnTo>
                  <a:pt x="1946" y="852"/>
                </a:lnTo>
                <a:lnTo>
                  <a:pt x="1950" y="856"/>
                </a:lnTo>
                <a:lnTo>
                  <a:pt x="1957" y="864"/>
                </a:lnTo>
                <a:lnTo>
                  <a:pt x="1964" y="871"/>
                </a:lnTo>
                <a:lnTo>
                  <a:pt x="1968" y="880"/>
                </a:lnTo>
                <a:lnTo>
                  <a:pt x="1973" y="890"/>
                </a:lnTo>
                <a:lnTo>
                  <a:pt x="1976" y="900"/>
                </a:lnTo>
                <a:lnTo>
                  <a:pt x="1980" y="909"/>
                </a:lnTo>
                <a:lnTo>
                  <a:pt x="1981" y="921"/>
                </a:lnTo>
                <a:lnTo>
                  <a:pt x="1981" y="930"/>
                </a:lnTo>
                <a:lnTo>
                  <a:pt x="1981" y="942"/>
                </a:lnTo>
                <a:lnTo>
                  <a:pt x="1980" y="953"/>
                </a:lnTo>
                <a:lnTo>
                  <a:pt x="1976" y="963"/>
                </a:lnTo>
                <a:lnTo>
                  <a:pt x="1973" y="973"/>
                </a:lnTo>
                <a:lnTo>
                  <a:pt x="1968" y="981"/>
                </a:lnTo>
                <a:lnTo>
                  <a:pt x="1964" y="990"/>
                </a:lnTo>
                <a:lnTo>
                  <a:pt x="1957" y="998"/>
                </a:lnTo>
                <a:lnTo>
                  <a:pt x="1954" y="1002"/>
                </a:lnTo>
                <a:lnTo>
                  <a:pt x="1950" y="1006"/>
                </a:lnTo>
                <a:lnTo>
                  <a:pt x="1942" y="1013"/>
                </a:lnTo>
                <a:lnTo>
                  <a:pt x="1934" y="1018"/>
                </a:lnTo>
                <a:lnTo>
                  <a:pt x="1925" y="1024"/>
                </a:lnTo>
                <a:lnTo>
                  <a:pt x="1917" y="1028"/>
                </a:lnTo>
                <a:lnTo>
                  <a:pt x="1907" y="1032"/>
                </a:lnTo>
                <a:lnTo>
                  <a:pt x="1897" y="1034"/>
                </a:lnTo>
                <a:lnTo>
                  <a:pt x="1886" y="1037"/>
                </a:lnTo>
                <a:lnTo>
                  <a:pt x="1876" y="1037"/>
                </a:lnTo>
                <a:lnTo>
                  <a:pt x="1865" y="1037"/>
                </a:lnTo>
                <a:lnTo>
                  <a:pt x="1853" y="1034"/>
                </a:lnTo>
                <a:lnTo>
                  <a:pt x="1844" y="1032"/>
                </a:lnTo>
                <a:lnTo>
                  <a:pt x="1834" y="1028"/>
                </a:lnTo>
                <a:lnTo>
                  <a:pt x="1825" y="1024"/>
                </a:lnTo>
                <a:lnTo>
                  <a:pt x="1816" y="1018"/>
                </a:lnTo>
                <a:lnTo>
                  <a:pt x="1808" y="1013"/>
                </a:lnTo>
                <a:lnTo>
                  <a:pt x="1804" y="1010"/>
                </a:lnTo>
                <a:lnTo>
                  <a:pt x="1800" y="1006"/>
                </a:lnTo>
                <a:lnTo>
                  <a:pt x="1793" y="998"/>
                </a:lnTo>
                <a:lnTo>
                  <a:pt x="1787" y="990"/>
                </a:lnTo>
                <a:lnTo>
                  <a:pt x="1782" y="981"/>
                </a:lnTo>
                <a:lnTo>
                  <a:pt x="1778" y="973"/>
                </a:lnTo>
                <a:lnTo>
                  <a:pt x="1774" y="963"/>
                </a:lnTo>
                <a:lnTo>
                  <a:pt x="1772" y="953"/>
                </a:lnTo>
                <a:lnTo>
                  <a:pt x="1769" y="942"/>
                </a:lnTo>
                <a:lnTo>
                  <a:pt x="1769" y="930"/>
                </a:lnTo>
                <a:close/>
                <a:moveTo>
                  <a:pt x="0" y="0"/>
                </a:moveTo>
                <a:lnTo>
                  <a:pt x="702" y="0"/>
                </a:lnTo>
                <a:lnTo>
                  <a:pt x="1403" y="0"/>
                </a:lnTo>
                <a:lnTo>
                  <a:pt x="2105" y="0"/>
                </a:lnTo>
                <a:lnTo>
                  <a:pt x="2806" y="0"/>
                </a:lnTo>
                <a:lnTo>
                  <a:pt x="2806" y="702"/>
                </a:lnTo>
                <a:lnTo>
                  <a:pt x="2806" y="1403"/>
                </a:lnTo>
                <a:lnTo>
                  <a:pt x="2806" y="2105"/>
                </a:lnTo>
                <a:lnTo>
                  <a:pt x="2806" y="2806"/>
                </a:lnTo>
                <a:lnTo>
                  <a:pt x="2105" y="2806"/>
                </a:lnTo>
                <a:lnTo>
                  <a:pt x="1403" y="2806"/>
                </a:lnTo>
                <a:lnTo>
                  <a:pt x="702" y="2806"/>
                </a:lnTo>
                <a:lnTo>
                  <a:pt x="0" y="2806"/>
                </a:lnTo>
                <a:lnTo>
                  <a:pt x="0" y="2105"/>
                </a:lnTo>
                <a:lnTo>
                  <a:pt x="0" y="1403"/>
                </a:lnTo>
                <a:lnTo>
                  <a:pt x="0" y="702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0201" tIns="40100" rIns="80201" bIns="40100" numCol="1" anchor="t" anchorCtr="0" compatLnSpc="1">
            <a:prstTxWarp prst="textNoShape">
              <a:avLst/>
            </a:prstTxWarp>
          </a:bodyPr>
          <a:lstStyle/>
          <a:p>
            <a:endParaRPr lang="en-GB" sz="1579"/>
          </a:p>
        </p:txBody>
      </p:sp>
      <p:sp>
        <p:nvSpPr>
          <p:cNvPr id="11" name="Freeform 12">
            <a:hlinkClick r:id="rId6" tooltip="LinkedIn"/>
          </p:cNvPr>
          <p:cNvSpPr>
            <a:spLocks noChangeAspect="1" noEditPoints="1"/>
          </p:cNvSpPr>
          <p:nvPr/>
        </p:nvSpPr>
        <p:spPr bwMode="auto">
          <a:xfrm>
            <a:off x="5220414" y="684481"/>
            <a:ext cx="252600" cy="317600"/>
          </a:xfrm>
          <a:custGeom>
            <a:avLst/>
            <a:gdLst>
              <a:gd name="T0" fmla="*/ 962 w 2804"/>
              <a:gd name="T1" fmla="*/ 2198 h 2806"/>
              <a:gd name="T2" fmla="*/ 798 w 2804"/>
              <a:gd name="T3" fmla="*/ 609 h 2806"/>
              <a:gd name="T4" fmla="*/ 845 w 2804"/>
              <a:gd name="T5" fmla="*/ 615 h 2806"/>
              <a:gd name="T6" fmla="*/ 904 w 2804"/>
              <a:gd name="T7" fmla="*/ 641 h 2806"/>
              <a:gd name="T8" fmla="*/ 950 w 2804"/>
              <a:gd name="T9" fmla="*/ 685 h 2806"/>
              <a:gd name="T10" fmla="*/ 973 w 2804"/>
              <a:gd name="T11" fmla="*/ 725 h 2806"/>
              <a:gd name="T12" fmla="*/ 984 w 2804"/>
              <a:gd name="T13" fmla="*/ 761 h 2806"/>
              <a:gd name="T14" fmla="*/ 986 w 2804"/>
              <a:gd name="T15" fmla="*/ 829 h 2806"/>
              <a:gd name="T16" fmla="*/ 973 w 2804"/>
              <a:gd name="T17" fmla="*/ 875 h 2806"/>
              <a:gd name="T18" fmla="*/ 933 w 2804"/>
              <a:gd name="T19" fmla="*/ 935 h 2806"/>
              <a:gd name="T20" fmla="*/ 888 w 2804"/>
              <a:gd name="T21" fmla="*/ 969 h 2806"/>
              <a:gd name="T22" fmla="*/ 855 w 2804"/>
              <a:gd name="T23" fmla="*/ 982 h 2806"/>
              <a:gd name="T24" fmla="*/ 798 w 2804"/>
              <a:gd name="T25" fmla="*/ 991 h 2806"/>
              <a:gd name="T26" fmla="*/ 749 w 2804"/>
              <a:gd name="T27" fmla="*/ 985 h 2806"/>
              <a:gd name="T28" fmla="*/ 690 w 2804"/>
              <a:gd name="T29" fmla="*/ 959 h 2806"/>
              <a:gd name="T30" fmla="*/ 644 w 2804"/>
              <a:gd name="T31" fmla="*/ 914 h 2806"/>
              <a:gd name="T32" fmla="*/ 621 w 2804"/>
              <a:gd name="T33" fmla="*/ 875 h 2806"/>
              <a:gd name="T34" fmla="*/ 610 w 2804"/>
              <a:gd name="T35" fmla="*/ 839 h 2806"/>
              <a:gd name="T36" fmla="*/ 608 w 2804"/>
              <a:gd name="T37" fmla="*/ 771 h 2806"/>
              <a:gd name="T38" fmla="*/ 621 w 2804"/>
              <a:gd name="T39" fmla="*/ 725 h 2806"/>
              <a:gd name="T40" fmla="*/ 662 w 2804"/>
              <a:gd name="T41" fmla="*/ 664 h 2806"/>
              <a:gd name="T42" fmla="*/ 706 w 2804"/>
              <a:gd name="T43" fmla="*/ 632 h 2806"/>
              <a:gd name="T44" fmla="*/ 749 w 2804"/>
              <a:gd name="T45" fmla="*/ 615 h 2806"/>
              <a:gd name="T46" fmla="*/ 798 w 2804"/>
              <a:gd name="T47" fmla="*/ 609 h 2806"/>
              <a:gd name="T48" fmla="*/ 1491 w 2804"/>
              <a:gd name="T49" fmla="*/ 1282 h 2806"/>
              <a:gd name="T50" fmla="*/ 1521 w 2804"/>
              <a:gd name="T51" fmla="*/ 1235 h 2806"/>
              <a:gd name="T52" fmla="*/ 1583 w 2804"/>
              <a:gd name="T53" fmla="*/ 1176 h 2806"/>
              <a:gd name="T54" fmla="*/ 1656 w 2804"/>
              <a:gd name="T55" fmla="*/ 1137 h 2806"/>
              <a:gd name="T56" fmla="*/ 1718 w 2804"/>
              <a:gd name="T57" fmla="*/ 1118 h 2806"/>
              <a:gd name="T58" fmla="*/ 1773 w 2804"/>
              <a:gd name="T59" fmla="*/ 1111 h 2806"/>
              <a:gd name="T60" fmla="*/ 1862 w 2804"/>
              <a:gd name="T61" fmla="*/ 1112 h 2806"/>
              <a:gd name="T62" fmla="*/ 1940 w 2804"/>
              <a:gd name="T63" fmla="*/ 1126 h 2806"/>
              <a:gd name="T64" fmla="*/ 2024 w 2804"/>
              <a:gd name="T65" fmla="*/ 1159 h 2806"/>
              <a:gd name="T66" fmla="*/ 2067 w 2804"/>
              <a:gd name="T67" fmla="*/ 1188 h 2806"/>
              <a:gd name="T68" fmla="*/ 2096 w 2804"/>
              <a:gd name="T69" fmla="*/ 1216 h 2806"/>
              <a:gd name="T70" fmla="*/ 2120 w 2804"/>
              <a:gd name="T71" fmla="*/ 1247 h 2806"/>
              <a:gd name="T72" fmla="*/ 2140 w 2804"/>
              <a:gd name="T73" fmla="*/ 1282 h 2806"/>
              <a:gd name="T74" fmla="*/ 2161 w 2804"/>
              <a:gd name="T75" fmla="*/ 1330 h 2806"/>
              <a:gd name="T76" fmla="*/ 2183 w 2804"/>
              <a:gd name="T77" fmla="*/ 1417 h 2806"/>
              <a:gd name="T78" fmla="*/ 2193 w 2804"/>
              <a:gd name="T79" fmla="*/ 1487 h 2806"/>
              <a:gd name="T80" fmla="*/ 2198 w 2804"/>
              <a:gd name="T81" fmla="*/ 1588 h 2806"/>
              <a:gd name="T82" fmla="*/ 1868 w 2804"/>
              <a:gd name="T83" fmla="*/ 1681 h 2806"/>
              <a:gd name="T84" fmla="*/ 1864 w 2804"/>
              <a:gd name="T85" fmla="*/ 1574 h 2806"/>
              <a:gd name="T86" fmla="*/ 1853 w 2804"/>
              <a:gd name="T87" fmla="*/ 1515 h 2806"/>
              <a:gd name="T88" fmla="*/ 1837 w 2804"/>
              <a:gd name="T89" fmla="*/ 1475 h 2806"/>
              <a:gd name="T90" fmla="*/ 1811 w 2804"/>
              <a:gd name="T91" fmla="*/ 1441 h 2806"/>
              <a:gd name="T92" fmla="*/ 1785 w 2804"/>
              <a:gd name="T93" fmla="*/ 1421 h 2806"/>
              <a:gd name="T94" fmla="*/ 1753 w 2804"/>
              <a:gd name="T95" fmla="*/ 1407 h 2806"/>
              <a:gd name="T96" fmla="*/ 1697 w 2804"/>
              <a:gd name="T97" fmla="*/ 1400 h 2806"/>
              <a:gd name="T98" fmla="*/ 1639 w 2804"/>
              <a:gd name="T99" fmla="*/ 1407 h 2806"/>
              <a:gd name="T100" fmla="*/ 1593 w 2804"/>
              <a:gd name="T101" fmla="*/ 1423 h 2806"/>
              <a:gd name="T102" fmla="*/ 1566 w 2804"/>
              <a:gd name="T103" fmla="*/ 1442 h 2806"/>
              <a:gd name="T104" fmla="*/ 1539 w 2804"/>
              <a:gd name="T105" fmla="*/ 1475 h 2806"/>
              <a:gd name="T106" fmla="*/ 1520 w 2804"/>
              <a:gd name="T107" fmla="*/ 1515 h 2806"/>
              <a:gd name="T108" fmla="*/ 1508 w 2804"/>
              <a:gd name="T109" fmla="*/ 1560 h 2806"/>
              <a:gd name="T110" fmla="*/ 1500 w 2804"/>
              <a:gd name="T111" fmla="*/ 1622 h 2806"/>
              <a:gd name="T112" fmla="*/ 1169 w 2804"/>
              <a:gd name="T113" fmla="*/ 2198 h 2806"/>
              <a:gd name="T114" fmla="*/ 700 w 2804"/>
              <a:gd name="T115" fmla="*/ 0 h 2806"/>
              <a:gd name="T116" fmla="*/ 2804 w 2804"/>
              <a:gd name="T117" fmla="*/ 701 h 2806"/>
              <a:gd name="T118" fmla="*/ 2103 w 2804"/>
              <a:gd name="T119" fmla="*/ 2806 h 2806"/>
              <a:gd name="T120" fmla="*/ 0 w 2804"/>
              <a:gd name="T121" fmla="*/ 2104 h 28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04" h="2806">
                <a:moveTo>
                  <a:pt x="632" y="1136"/>
                </a:moveTo>
                <a:lnTo>
                  <a:pt x="962" y="1136"/>
                </a:lnTo>
                <a:lnTo>
                  <a:pt x="962" y="1666"/>
                </a:lnTo>
                <a:lnTo>
                  <a:pt x="962" y="2198"/>
                </a:lnTo>
                <a:lnTo>
                  <a:pt x="632" y="2198"/>
                </a:lnTo>
                <a:lnTo>
                  <a:pt x="632" y="1666"/>
                </a:lnTo>
                <a:lnTo>
                  <a:pt x="632" y="1136"/>
                </a:lnTo>
                <a:close/>
                <a:moveTo>
                  <a:pt x="798" y="609"/>
                </a:moveTo>
                <a:lnTo>
                  <a:pt x="816" y="610"/>
                </a:lnTo>
                <a:lnTo>
                  <a:pt x="826" y="611"/>
                </a:lnTo>
                <a:lnTo>
                  <a:pt x="836" y="612"/>
                </a:lnTo>
                <a:lnTo>
                  <a:pt x="845" y="615"/>
                </a:lnTo>
                <a:lnTo>
                  <a:pt x="855" y="617"/>
                </a:lnTo>
                <a:lnTo>
                  <a:pt x="872" y="623"/>
                </a:lnTo>
                <a:lnTo>
                  <a:pt x="888" y="632"/>
                </a:lnTo>
                <a:lnTo>
                  <a:pt x="904" y="641"/>
                </a:lnTo>
                <a:lnTo>
                  <a:pt x="919" y="652"/>
                </a:lnTo>
                <a:lnTo>
                  <a:pt x="933" y="664"/>
                </a:lnTo>
                <a:lnTo>
                  <a:pt x="945" y="678"/>
                </a:lnTo>
                <a:lnTo>
                  <a:pt x="950" y="685"/>
                </a:lnTo>
                <a:lnTo>
                  <a:pt x="956" y="693"/>
                </a:lnTo>
                <a:lnTo>
                  <a:pt x="965" y="709"/>
                </a:lnTo>
                <a:lnTo>
                  <a:pt x="970" y="717"/>
                </a:lnTo>
                <a:lnTo>
                  <a:pt x="973" y="725"/>
                </a:lnTo>
                <a:lnTo>
                  <a:pt x="977" y="734"/>
                </a:lnTo>
                <a:lnTo>
                  <a:pt x="980" y="743"/>
                </a:lnTo>
                <a:lnTo>
                  <a:pt x="982" y="752"/>
                </a:lnTo>
                <a:lnTo>
                  <a:pt x="984" y="761"/>
                </a:lnTo>
                <a:lnTo>
                  <a:pt x="987" y="781"/>
                </a:lnTo>
                <a:lnTo>
                  <a:pt x="988" y="800"/>
                </a:lnTo>
                <a:lnTo>
                  <a:pt x="987" y="819"/>
                </a:lnTo>
                <a:lnTo>
                  <a:pt x="986" y="829"/>
                </a:lnTo>
                <a:lnTo>
                  <a:pt x="984" y="839"/>
                </a:lnTo>
                <a:lnTo>
                  <a:pt x="982" y="847"/>
                </a:lnTo>
                <a:lnTo>
                  <a:pt x="980" y="857"/>
                </a:lnTo>
                <a:lnTo>
                  <a:pt x="973" y="875"/>
                </a:lnTo>
                <a:lnTo>
                  <a:pt x="965" y="891"/>
                </a:lnTo>
                <a:lnTo>
                  <a:pt x="956" y="907"/>
                </a:lnTo>
                <a:lnTo>
                  <a:pt x="945" y="922"/>
                </a:lnTo>
                <a:lnTo>
                  <a:pt x="933" y="935"/>
                </a:lnTo>
                <a:lnTo>
                  <a:pt x="919" y="948"/>
                </a:lnTo>
                <a:lnTo>
                  <a:pt x="911" y="954"/>
                </a:lnTo>
                <a:lnTo>
                  <a:pt x="904" y="959"/>
                </a:lnTo>
                <a:lnTo>
                  <a:pt x="888" y="969"/>
                </a:lnTo>
                <a:lnTo>
                  <a:pt x="881" y="972"/>
                </a:lnTo>
                <a:lnTo>
                  <a:pt x="872" y="976"/>
                </a:lnTo>
                <a:lnTo>
                  <a:pt x="863" y="980"/>
                </a:lnTo>
                <a:lnTo>
                  <a:pt x="855" y="982"/>
                </a:lnTo>
                <a:lnTo>
                  <a:pt x="845" y="985"/>
                </a:lnTo>
                <a:lnTo>
                  <a:pt x="836" y="987"/>
                </a:lnTo>
                <a:lnTo>
                  <a:pt x="816" y="990"/>
                </a:lnTo>
                <a:lnTo>
                  <a:pt x="798" y="991"/>
                </a:lnTo>
                <a:lnTo>
                  <a:pt x="788" y="991"/>
                </a:lnTo>
                <a:lnTo>
                  <a:pt x="778" y="990"/>
                </a:lnTo>
                <a:lnTo>
                  <a:pt x="758" y="987"/>
                </a:lnTo>
                <a:lnTo>
                  <a:pt x="749" y="985"/>
                </a:lnTo>
                <a:lnTo>
                  <a:pt x="740" y="982"/>
                </a:lnTo>
                <a:lnTo>
                  <a:pt x="722" y="976"/>
                </a:lnTo>
                <a:lnTo>
                  <a:pt x="706" y="969"/>
                </a:lnTo>
                <a:lnTo>
                  <a:pt x="690" y="959"/>
                </a:lnTo>
                <a:lnTo>
                  <a:pt x="675" y="948"/>
                </a:lnTo>
                <a:lnTo>
                  <a:pt x="662" y="935"/>
                </a:lnTo>
                <a:lnTo>
                  <a:pt x="649" y="922"/>
                </a:lnTo>
                <a:lnTo>
                  <a:pt x="644" y="914"/>
                </a:lnTo>
                <a:lnTo>
                  <a:pt x="638" y="907"/>
                </a:lnTo>
                <a:lnTo>
                  <a:pt x="628" y="891"/>
                </a:lnTo>
                <a:lnTo>
                  <a:pt x="624" y="883"/>
                </a:lnTo>
                <a:lnTo>
                  <a:pt x="621" y="875"/>
                </a:lnTo>
                <a:lnTo>
                  <a:pt x="617" y="866"/>
                </a:lnTo>
                <a:lnTo>
                  <a:pt x="615" y="857"/>
                </a:lnTo>
                <a:lnTo>
                  <a:pt x="612" y="847"/>
                </a:lnTo>
                <a:lnTo>
                  <a:pt x="610" y="839"/>
                </a:lnTo>
                <a:lnTo>
                  <a:pt x="607" y="819"/>
                </a:lnTo>
                <a:lnTo>
                  <a:pt x="606" y="800"/>
                </a:lnTo>
                <a:lnTo>
                  <a:pt x="607" y="781"/>
                </a:lnTo>
                <a:lnTo>
                  <a:pt x="608" y="771"/>
                </a:lnTo>
                <a:lnTo>
                  <a:pt x="610" y="761"/>
                </a:lnTo>
                <a:lnTo>
                  <a:pt x="612" y="752"/>
                </a:lnTo>
                <a:lnTo>
                  <a:pt x="615" y="743"/>
                </a:lnTo>
                <a:lnTo>
                  <a:pt x="621" y="725"/>
                </a:lnTo>
                <a:lnTo>
                  <a:pt x="628" y="709"/>
                </a:lnTo>
                <a:lnTo>
                  <a:pt x="638" y="693"/>
                </a:lnTo>
                <a:lnTo>
                  <a:pt x="649" y="678"/>
                </a:lnTo>
                <a:lnTo>
                  <a:pt x="662" y="664"/>
                </a:lnTo>
                <a:lnTo>
                  <a:pt x="675" y="652"/>
                </a:lnTo>
                <a:lnTo>
                  <a:pt x="683" y="647"/>
                </a:lnTo>
                <a:lnTo>
                  <a:pt x="690" y="641"/>
                </a:lnTo>
                <a:lnTo>
                  <a:pt x="706" y="632"/>
                </a:lnTo>
                <a:lnTo>
                  <a:pt x="714" y="627"/>
                </a:lnTo>
                <a:lnTo>
                  <a:pt x="722" y="623"/>
                </a:lnTo>
                <a:lnTo>
                  <a:pt x="740" y="617"/>
                </a:lnTo>
                <a:lnTo>
                  <a:pt x="749" y="615"/>
                </a:lnTo>
                <a:lnTo>
                  <a:pt x="758" y="612"/>
                </a:lnTo>
                <a:lnTo>
                  <a:pt x="768" y="611"/>
                </a:lnTo>
                <a:lnTo>
                  <a:pt x="778" y="610"/>
                </a:lnTo>
                <a:lnTo>
                  <a:pt x="798" y="609"/>
                </a:lnTo>
                <a:close/>
                <a:moveTo>
                  <a:pt x="1169" y="1136"/>
                </a:moveTo>
                <a:lnTo>
                  <a:pt x="1486" y="1136"/>
                </a:lnTo>
                <a:lnTo>
                  <a:pt x="1486" y="1282"/>
                </a:lnTo>
                <a:lnTo>
                  <a:pt x="1491" y="1282"/>
                </a:lnTo>
                <a:lnTo>
                  <a:pt x="1499" y="1266"/>
                </a:lnTo>
                <a:lnTo>
                  <a:pt x="1509" y="1249"/>
                </a:lnTo>
                <a:lnTo>
                  <a:pt x="1515" y="1242"/>
                </a:lnTo>
                <a:lnTo>
                  <a:pt x="1521" y="1235"/>
                </a:lnTo>
                <a:lnTo>
                  <a:pt x="1535" y="1220"/>
                </a:lnTo>
                <a:lnTo>
                  <a:pt x="1550" y="1205"/>
                </a:lnTo>
                <a:lnTo>
                  <a:pt x="1566" y="1190"/>
                </a:lnTo>
                <a:lnTo>
                  <a:pt x="1583" y="1176"/>
                </a:lnTo>
                <a:lnTo>
                  <a:pt x="1602" y="1164"/>
                </a:lnTo>
                <a:lnTo>
                  <a:pt x="1623" y="1153"/>
                </a:lnTo>
                <a:lnTo>
                  <a:pt x="1644" y="1142"/>
                </a:lnTo>
                <a:lnTo>
                  <a:pt x="1656" y="1137"/>
                </a:lnTo>
                <a:lnTo>
                  <a:pt x="1667" y="1133"/>
                </a:lnTo>
                <a:lnTo>
                  <a:pt x="1692" y="1125"/>
                </a:lnTo>
                <a:lnTo>
                  <a:pt x="1705" y="1122"/>
                </a:lnTo>
                <a:lnTo>
                  <a:pt x="1718" y="1118"/>
                </a:lnTo>
                <a:lnTo>
                  <a:pt x="1731" y="1116"/>
                </a:lnTo>
                <a:lnTo>
                  <a:pt x="1744" y="1113"/>
                </a:lnTo>
                <a:lnTo>
                  <a:pt x="1759" y="1112"/>
                </a:lnTo>
                <a:lnTo>
                  <a:pt x="1773" y="1111"/>
                </a:lnTo>
                <a:lnTo>
                  <a:pt x="1802" y="1110"/>
                </a:lnTo>
                <a:lnTo>
                  <a:pt x="1833" y="1111"/>
                </a:lnTo>
                <a:lnTo>
                  <a:pt x="1848" y="1111"/>
                </a:lnTo>
                <a:lnTo>
                  <a:pt x="1862" y="1112"/>
                </a:lnTo>
                <a:lnTo>
                  <a:pt x="1889" y="1116"/>
                </a:lnTo>
                <a:lnTo>
                  <a:pt x="1915" y="1120"/>
                </a:lnTo>
                <a:lnTo>
                  <a:pt x="1927" y="1122"/>
                </a:lnTo>
                <a:lnTo>
                  <a:pt x="1940" y="1126"/>
                </a:lnTo>
                <a:lnTo>
                  <a:pt x="1963" y="1132"/>
                </a:lnTo>
                <a:lnTo>
                  <a:pt x="1984" y="1139"/>
                </a:lnTo>
                <a:lnTo>
                  <a:pt x="2005" y="1149"/>
                </a:lnTo>
                <a:lnTo>
                  <a:pt x="2024" y="1159"/>
                </a:lnTo>
                <a:lnTo>
                  <a:pt x="2042" y="1169"/>
                </a:lnTo>
                <a:lnTo>
                  <a:pt x="2051" y="1175"/>
                </a:lnTo>
                <a:lnTo>
                  <a:pt x="2058" y="1181"/>
                </a:lnTo>
                <a:lnTo>
                  <a:pt x="2067" y="1188"/>
                </a:lnTo>
                <a:lnTo>
                  <a:pt x="2075" y="1195"/>
                </a:lnTo>
                <a:lnTo>
                  <a:pt x="2082" y="1201"/>
                </a:lnTo>
                <a:lnTo>
                  <a:pt x="2088" y="1209"/>
                </a:lnTo>
                <a:lnTo>
                  <a:pt x="2096" y="1216"/>
                </a:lnTo>
                <a:lnTo>
                  <a:pt x="2102" y="1223"/>
                </a:lnTo>
                <a:lnTo>
                  <a:pt x="2108" y="1231"/>
                </a:lnTo>
                <a:lnTo>
                  <a:pt x="2114" y="1240"/>
                </a:lnTo>
                <a:lnTo>
                  <a:pt x="2120" y="1247"/>
                </a:lnTo>
                <a:lnTo>
                  <a:pt x="2125" y="1256"/>
                </a:lnTo>
                <a:lnTo>
                  <a:pt x="2130" y="1264"/>
                </a:lnTo>
                <a:lnTo>
                  <a:pt x="2135" y="1273"/>
                </a:lnTo>
                <a:lnTo>
                  <a:pt x="2140" y="1282"/>
                </a:lnTo>
                <a:lnTo>
                  <a:pt x="2145" y="1292"/>
                </a:lnTo>
                <a:lnTo>
                  <a:pt x="2154" y="1310"/>
                </a:lnTo>
                <a:lnTo>
                  <a:pt x="2157" y="1320"/>
                </a:lnTo>
                <a:lnTo>
                  <a:pt x="2161" y="1330"/>
                </a:lnTo>
                <a:lnTo>
                  <a:pt x="2167" y="1351"/>
                </a:lnTo>
                <a:lnTo>
                  <a:pt x="2173" y="1372"/>
                </a:lnTo>
                <a:lnTo>
                  <a:pt x="2178" y="1393"/>
                </a:lnTo>
                <a:lnTo>
                  <a:pt x="2183" y="1417"/>
                </a:lnTo>
                <a:lnTo>
                  <a:pt x="2185" y="1428"/>
                </a:lnTo>
                <a:lnTo>
                  <a:pt x="2187" y="1439"/>
                </a:lnTo>
                <a:lnTo>
                  <a:pt x="2190" y="1462"/>
                </a:lnTo>
                <a:lnTo>
                  <a:pt x="2193" y="1487"/>
                </a:lnTo>
                <a:lnTo>
                  <a:pt x="2195" y="1512"/>
                </a:lnTo>
                <a:lnTo>
                  <a:pt x="2196" y="1538"/>
                </a:lnTo>
                <a:lnTo>
                  <a:pt x="2197" y="1563"/>
                </a:lnTo>
                <a:lnTo>
                  <a:pt x="2198" y="1588"/>
                </a:lnTo>
                <a:lnTo>
                  <a:pt x="2198" y="1616"/>
                </a:lnTo>
                <a:lnTo>
                  <a:pt x="2198" y="2198"/>
                </a:lnTo>
                <a:lnTo>
                  <a:pt x="1868" y="2198"/>
                </a:lnTo>
                <a:lnTo>
                  <a:pt x="1868" y="1681"/>
                </a:lnTo>
                <a:lnTo>
                  <a:pt x="1868" y="1634"/>
                </a:lnTo>
                <a:lnTo>
                  <a:pt x="1867" y="1610"/>
                </a:lnTo>
                <a:lnTo>
                  <a:pt x="1865" y="1586"/>
                </a:lnTo>
                <a:lnTo>
                  <a:pt x="1864" y="1574"/>
                </a:lnTo>
                <a:lnTo>
                  <a:pt x="1863" y="1561"/>
                </a:lnTo>
                <a:lnTo>
                  <a:pt x="1858" y="1539"/>
                </a:lnTo>
                <a:lnTo>
                  <a:pt x="1856" y="1527"/>
                </a:lnTo>
                <a:lnTo>
                  <a:pt x="1853" y="1515"/>
                </a:lnTo>
                <a:lnTo>
                  <a:pt x="1849" y="1506"/>
                </a:lnTo>
                <a:lnTo>
                  <a:pt x="1846" y="1494"/>
                </a:lnTo>
                <a:lnTo>
                  <a:pt x="1842" y="1485"/>
                </a:lnTo>
                <a:lnTo>
                  <a:pt x="1837" y="1475"/>
                </a:lnTo>
                <a:lnTo>
                  <a:pt x="1831" y="1466"/>
                </a:lnTo>
                <a:lnTo>
                  <a:pt x="1826" y="1457"/>
                </a:lnTo>
                <a:lnTo>
                  <a:pt x="1818" y="1449"/>
                </a:lnTo>
                <a:lnTo>
                  <a:pt x="1811" y="1441"/>
                </a:lnTo>
                <a:lnTo>
                  <a:pt x="1804" y="1434"/>
                </a:lnTo>
                <a:lnTo>
                  <a:pt x="1800" y="1430"/>
                </a:lnTo>
                <a:lnTo>
                  <a:pt x="1795" y="1426"/>
                </a:lnTo>
                <a:lnTo>
                  <a:pt x="1785" y="1421"/>
                </a:lnTo>
                <a:lnTo>
                  <a:pt x="1775" y="1415"/>
                </a:lnTo>
                <a:lnTo>
                  <a:pt x="1764" y="1412"/>
                </a:lnTo>
                <a:lnTo>
                  <a:pt x="1759" y="1409"/>
                </a:lnTo>
                <a:lnTo>
                  <a:pt x="1753" y="1407"/>
                </a:lnTo>
                <a:lnTo>
                  <a:pt x="1740" y="1404"/>
                </a:lnTo>
                <a:lnTo>
                  <a:pt x="1727" y="1402"/>
                </a:lnTo>
                <a:lnTo>
                  <a:pt x="1712" y="1400"/>
                </a:lnTo>
                <a:lnTo>
                  <a:pt x="1697" y="1400"/>
                </a:lnTo>
                <a:lnTo>
                  <a:pt x="1681" y="1400"/>
                </a:lnTo>
                <a:lnTo>
                  <a:pt x="1666" y="1402"/>
                </a:lnTo>
                <a:lnTo>
                  <a:pt x="1653" y="1404"/>
                </a:lnTo>
                <a:lnTo>
                  <a:pt x="1639" y="1407"/>
                </a:lnTo>
                <a:lnTo>
                  <a:pt x="1627" y="1409"/>
                </a:lnTo>
                <a:lnTo>
                  <a:pt x="1614" y="1414"/>
                </a:lnTo>
                <a:lnTo>
                  <a:pt x="1603" y="1418"/>
                </a:lnTo>
                <a:lnTo>
                  <a:pt x="1593" y="1423"/>
                </a:lnTo>
                <a:lnTo>
                  <a:pt x="1583" y="1429"/>
                </a:lnTo>
                <a:lnTo>
                  <a:pt x="1580" y="1433"/>
                </a:lnTo>
                <a:lnTo>
                  <a:pt x="1575" y="1435"/>
                </a:lnTo>
                <a:lnTo>
                  <a:pt x="1566" y="1442"/>
                </a:lnTo>
                <a:lnTo>
                  <a:pt x="1559" y="1450"/>
                </a:lnTo>
                <a:lnTo>
                  <a:pt x="1551" y="1457"/>
                </a:lnTo>
                <a:lnTo>
                  <a:pt x="1545" y="1466"/>
                </a:lnTo>
                <a:lnTo>
                  <a:pt x="1539" y="1475"/>
                </a:lnTo>
                <a:lnTo>
                  <a:pt x="1534" y="1485"/>
                </a:lnTo>
                <a:lnTo>
                  <a:pt x="1529" y="1494"/>
                </a:lnTo>
                <a:lnTo>
                  <a:pt x="1524" y="1504"/>
                </a:lnTo>
                <a:lnTo>
                  <a:pt x="1520" y="1515"/>
                </a:lnTo>
                <a:lnTo>
                  <a:pt x="1517" y="1525"/>
                </a:lnTo>
                <a:lnTo>
                  <a:pt x="1513" y="1537"/>
                </a:lnTo>
                <a:lnTo>
                  <a:pt x="1510" y="1548"/>
                </a:lnTo>
                <a:lnTo>
                  <a:pt x="1508" y="1560"/>
                </a:lnTo>
                <a:lnTo>
                  <a:pt x="1505" y="1572"/>
                </a:lnTo>
                <a:lnTo>
                  <a:pt x="1504" y="1584"/>
                </a:lnTo>
                <a:lnTo>
                  <a:pt x="1503" y="1596"/>
                </a:lnTo>
                <a:lnTo>
                  <a:pt x="1500" y="1622"/>
                </a:lnTo>
                <a:lnTo>
                  <a:pt x="1499" y="1647"/>
                </a:lnTo>
                <a:lnTo>
                  <a:pt x="1499" y="1673"/>
                </a:lnTo>
                <a:lnTo>
                  <a:pt x="1499" y="2198"/>
                </a:lnTo>
                <a:lnTo>
                  <a:pt x="1169" y="2198"/>
                </a:lnTo>
                <a:lnTo>
                  <a:pt x="1169" y="1666"/>
                </a:lnTo>
                <a:lnTo>
                  <a:pt x="1169" y="1136"/>
                </a:lnTo>
                <a:close/>
                <a:moveTo>
                  <a:pt x="0" y="0"/>
                </a:moveTo>
                <a:lnTo>
                  <a:pt x="700" y="0"/>
                </a:lnTo>
                <a:lnTo>
                  <a:pt x="1401" y="0"/>
                </a:lnTo>
                <a:lnTo>
                  <a:pt x="2103" y="0"/>
                </a:lnTo>
                <a:lnTo>
                  <a:pt x="2804" y="0"/>
                </a:lnTo>
                <a:lnTo>
                  <a:pt x="2804" y="701"/>
                </a:lnTo>
                <a:lnTo>
                  <a:pt x="2804" y="1403"/>
                </a:lnTo>
                <a:lnTo>
                  <a:pt x="2804" y="2104"/>
                </a:lnTo>
                <a:lnTo>
                  <a:pt x="2804" y="2806"/>
                </a:lnTo>
                <a:lnTo>
                  <a:pt x="2103" y="2806"/>
                </a:lnTo>
                <a:lnTo>
                  <a:pt x="1401" y="2806"/>
                </a:lnTo>
                <a:lnTo>
                  <a:pt x="700" y="2806"/>
                </a:lnTo>
                <a:lnTo>
                  <a:pt x="0" y="2806"/>
                </a:lnTo>
                <a:lnTo>
                  <a:pt x="0" y="2104"/>
                </a:lnTo>
                <a:lnTo>
                  <a:pt x="0" y="1403"/>
                </a:lnTo>
                <a:lnTo>
                  <a:pt x="0" y="701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0201" tIns="40100" rIns="80201" bIns="40100" numCol="1" anchor="t" anchorCtr="0" compatLnSpc="1">
            <a:prstTxWarp prst="textNoShape">
              <a:avLst/>
            </a:prstTxWarp>
          </a:bodyPr>
          <a:lstStyle/>
          <a:p>
            <a:endParaRPr lang="en-GB" sz="1579"/>
          </a:p>
        </p:txBody>
      </p:sp>
      <p:sp>
        <p:nvSpPr>
          <p:cNvPr id="18" name="Text Placehold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736564" y="6083543"/>
            <a:ext cx="9220273" cy="635489"/>
          </a:xfrm>
        </p:spPr>
        <p:txBody>
          <a:bodyPr/>
          <a:lstStyle>
            <a:lvl1pPr marL="0" indent="0" algn="ctr">
              <a:spcBef>
                <a:spcPts val="175"/>
              </a:spcBef>
              <a:buFontTx/>
              <a:buNone/>
              <a:defRPr sz="1403" b="0">
                <a:solidFill>
                  <a:schemeClr val="bg1"/>
                </a:solidFill>
              </a:defRPr>
            </a:lvl1pPr>
            <a:lvl2pPr marL="0" indent="0" algn="ctr">
              <a:spcBef>
                <a:spcPts val="175"/>
              </a:spcBef>
              <a:buFontTx/>
              <a:buNone/>
              <a:defRPr sz="1228">
                <a:solidFill>
                  <a:schemeClr val="bg1"/>
                </a:solidFill>
              </a:defRPr>
            </a:lvl2pPr>
            <a:lvl3pPr marL="0" indent="0" algn="ctr">
              <a:spcBef>
                <a:spcPts val="175"/>
              </a:spcBef>
              <a:buFontTx/>
              <a:buNone/>
              <a:defRPr sz="877"/>
            </a:lvl3pPr>
            <a:lvl4pPr marL="0" indent="0" algn="ctr">
              <a:spcBef>
                <a:spcPts val="175"/>
              </a:spcBef>
              <a:buFontTx/>
              <a:buNone/>
              <a:defRPr sz="877"/>
            </a:lvl4pPr>
            <a:lvl5pPr marL="0" indent="0" algn="ctr">
              <a:spcBef>
                <a:spcPts val="175"/>
              </a:spcBef>
              <a:buFontTx/>
              <a:buNone/>
              <a:defRPr sz="877"/>
            </a:lvl5pPr>
          </a:lstStyle>
          <a:p>
            <a:pPr lvl="0"/>
            <a:r>
              <a:rPr lang="en-US"/>
              <a:t>Your contact detail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Picture Placeholder 14" descr="dont touch/move" title="Kemira Logo"/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4715200" y="4734331"/>
            <a:ext cx="1263000" cy="296821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i-FI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05091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Just Logo ">
    <p:bg>
      <p:bgPr>
        <a:solidFill>
          <a:srgbClr val="005BB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32EA1F1-A40A-43B5-BDFC-02F6AE174DC3}" type="datetime1">
              <a:rPr lang="fi-FI" smtClean="0"/>
              <a:t>22.5.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LASSIFICATION  /  PRESENTATION  /  AUTH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9B8CDF1A-3CDE-4195-AF23-CDCF2878DEB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reeform 6"/>
          <p:cNvSpPr>
            <a:spLocks noChangeAspect="1" noEditPoints="1"/>
          </p:cNvSpPr>
          <p:nvPr/>
        </p:nvSpPr>
        <p:spPr bwMode="auto">
          <a:xfrm>
            <a:off x="3657609" y="3224715"/>
            <a:ext cx="3378182" cy="794000"/>
          </a:xfrm>
          <a:custGeom>
            <a:avLst/>
            <a:gdLst>
              <a:gd name="T0" fmla="*/ 1828 w 5971"/>
              <a:gd name="T1" fmla="*/ 967 h 1115"/>
              <a:gd name="T2" fmla="*/ 1577 w 5971"/>
              <a:gd name="T3" fmla="*/ 1104 h 1115"/>
              <a:gd name="T4" fmla="*/ 1259 w 5971"/>
              <a:gd name="T5" fmla="*/ 1080 h 1115"/>
              <a:gd name="T6" fmla="*/ 1071 w 5971"/>
              <a:gd name="T7" fmla="*/ 932 h 1115"/>
              <a:gd name="T8" fmla="*/ 982 w 5971"/>
              <a:gd name="T9" fmla="*/ 665 h 1115"/>
              <a:gd name="T10" fmla="*/ 1023 w 5971"/>
              <a:gd name="T11" fmla="*/ 275 h 1115"/>
              <a:gd name="T12" fmla="*/ 1229 w 5971"/>
              <a:gd name="T13" fmla="*/ 49 h 1115"/>
              <a:gd name="T14" fmla="*/ 1509 w 5971"/>
              <a:gd name="T15" fmla="*/ 2 h 1115"/>
              <a:gd name="T16" fmla="*/ 1768 w 5971"/>
              <a:gd name="T17" fmla="*/ 97 h 1115"/>
              <a:gd name="T18" fmla="*/ 1906 w 5971"/>
              <a:gd name="T19" fmla="*/ 301 h 1115"/>
              <a:gd name="T20" fmla="*/ 1244 w 5971"/>
              <a:gd name="T21" fmla="*/ 631 h 1115"/>
              <a:gd name="T22" fmla="*/ 1303 w 5971"/>
              <a:gd name="T23" fmla="*/ 811 h 1115"/>
              <a:gd name="T24" fmla="*/ 1447 w 5971"/>
              <a:gd name="T25" fmla="*/ 878 h 1115"/>
              <a:gd name="T26" fmla="*/ 1604 w 5971"/>
              <a:gd name="T27" fmla="*/ 831 h 1115"/>
              <a:gd name="T28" fmla="*/ 1414 w 5971"/>
              <a:gd name="T29" fmla="*/ 221 h 1115"/>
              <a:gd name="T30" fmla="*/ 1286 w 5971"/>
              <a:gd name="T31" fmla="*/ 320 h 1115"/>
              <a:gd name="T32" fmla="*/ 1617 w 5971"/>
              <a:gd name="T33" fmla="*/ 291 h 1115"/>
              <a:gd name="T34" fmla="*/ 1485 w 5971"/>
              <a:gd name="T35" fmla="*/ 218 h 1115"/>
              <a:gd name="T36" fmla="*/ 5660 w 5971"/>
              <a:gd name="T37" fmla="*/ 267 h 1115"/>
              <a:gd name="T38" fmla="*/ 5465 w 5971"/>
              <a:gd name="T39" fmla="*/ 238 h 1115"/>
              <a:gd name="T40" fmla="*/ 5360 w 5971"/>
              <a:gd name="T41" fmla="*/ 336 h 1115"/>
              <a:gd name="T42" fmla="*/ 5199 w 5971"/>
              <a:gd name="T43" fmla="*/ 121 h 1115"/>
              <a:gd name="T44" fmla="*/ 5408 w 5971"/>
              <a:gd name="T45" fmla="*/ 12 h 1115"/>
              <a:gd name="T46" fmla="*/ 5710 w 5971"/>
              <a:gd name="T47" fmla="*/ 28 h 1115"/>
              <a:gd name="T48" fmla="*/ 5929 w 5971"/>
              <a:gd name="T49" fmla="*/ 203 h 1115"/>
              <a:gd name="T50" fmla="*/ 5970 w 5971"/>
              <a:gd name="T51" fmla="*/ 1093 h 1115"/>
              <a:gd name="T52" fmla="*/ 5218 w 5971"/>
              <a:gd name="T53" fmla="*/ 1049 h 1115"/>
              <a:gd name="T54" fmla="*/ 5061 w 5971"/>
              <a:gd name="T55" fmla="*/ 867 h 1115"/>
              <a:gd name="T56" fmla="*/ 5080 w 5971"/>
              <a:gd name="T57" fmla="*/ 611 h 1115"/>
              <a:gd name="T58" fmla="*/ 5265 w 5971"/>
              <a:gd name="T59" fmla="*/ 438 h 1115"/>
              <a:gd name="T60" fmla="*/ 5400 w 5971"/>
              <a:gd name="T61" fmla="*/ 636 h 1115"/>
              <a:gd name="T62" fmla="*/ 5304 w 5971"/>
              <a:gd name="T63" fmla="*/ 739 h 1115"/>
              <a:gd name="T64" fmla="*/ 5388 w 5971"/>
              <a:gd name="T65" fmla="*/ 861 h 1115"/>
              <a:gd name="T66" fmla="*/ 383 w 5971"/>
              <a:gd name="T67" fmla="*/ 349 h 1115"/>
              <a:gd name="T68" fmla="*/ 580 w 5971"/>
              <a:gd name="T69" fmla="*/ 87 h 1115"/>
              <a:gd name="T70" fmla="*/ 777 w 5971"/>
              <a:gd name="T71" fmla="*/ 235 h 1115"/>
              <a:gd name="T72" fmla="*/ 568 w 5971"/>
              <a:gd name="T73" fmla="*/ 507 h 1115"/>
              <a:gd name="T74" fmla="*/ 701 w 5971"/>
              <a:gd name="T75" fmla="*/ 724 h 1115"/>
              <a:gd name="T76" fmla="*/ 839 w 5971"/>
              <a:gd name="T77" fmla="*/ 1038 h 1115"/>
              <a:gd name="T78" fmla="*/ 504 w 5971"/>
              <a:gd name="T79" fmla="*/ 869 h 1115"/>
              <a:gd name="T80" fmla="*/ 305 w 5971"/>
              <a:gd name="T81" fmla="*/ 699 h 1115"/>
              <a:gd name="T82" fmla="*/ 3168 w 5971"/>
              <a:gd name="T83" fmla="*/ 349 h 1115"/>
              <a:gd name="T84" fmla="*/ 3082 w 5971"/>
              <a:gd name="T85" fmla="*/ 241 h 1115"/>
              <a:gd name="T86" fmla="*/ 2946 w 5971"/>
              <a:gd name="T87" fmla="*/ 287 h 1115"/>
              <a:gd name="T88" fmla="*/ 2664 w 5971"/>
              <a:gd name="T89" fmla="*/ 326 h 1115"/>
              <a:gd name="T90" fmla="*/ 2571 w 5971"/>
              <a:gd name="T91" fmla="*/ 238 h 1115"/>
              <a:gd name="T92" fmla="*/ 2438 w 5971"/>
              <a:gd name="T93" fmla="*/ 301 h 1115"/>
              <a:gd name="T94" fmla="*/ 2179 w 5971"/>
              <a:gd name="T95" fmla="*/ 275 h 1115"/>
              <a:gd name="T96" fmla="*/ 2295 w 5971"/>
              <a:gd name="T97" fmla="*/ 83 h 1115"/>
              <a:gd name="T98" fmla="*/ 2569 w 5971"/>
              <a:gd name="T99" fmla="*/ 1 h 1115"/>
              <a:gd name="T100" fmla="*/ 2793 w 5971"/>
              <a:gd name="T101" fmla="*/ 82 h 1115"/>
              <a:gd name="T102" fmla="*/ 3004 w 5971"/>
              <a:gd name="T103" fmla="*/ 2 h 1115"/>
              <a:gd name="T104" fmla="*/ 3267 w 5971"/>
              <a:gd name="T105" fmla="*/ 63 h 1115"/>
              <a:gd name="T106" fmla="*/ 3412 w 5971"/>
              <a:gd name="T107" fmla="*/ 275 h 1115"/>
              <a:gd name="T108" fmla="*/ 4279 w 5971"/>
              <a:gd name="T109" fmla="*/ 253 h 1115"/>
              <a:gd name="T110" fmla="*/ 4418 w 5971"/>
              <a:gd name="T111" fmla="*/ 61 h 1115"/>
              <a:gd name="T112" fmla="*/ 4711 w 5971"/>
              <a:gd name="T113" fmla="*/ 5 h 1115"/>
              <a:gd name="T114" fmla="*/ 4940 w 5971"/>
              <a:gd name="T115" fmla="*/ 120 h 1115"/>
              <a:gd name="T116" fmla="*/ 5020 w 5971"/>
              <a:gd name="T117" fmla="*/ 336 h 1115"/>
              <a:gd name="T118" fmla="*/ 4688 w 5971"/>
              <a:gd name="T119" fmla="*/ 242 h 1115"/>
              <a:gd name="T120" fmla="*/ 4552 w 5971"/>
              <a:gd name="T121" fmla="*/ 272 h 1115"/>
              <a:gd name="T122" fmla="*/ 3716 w 5971"/>
              <a:gd name="T123" fmla="*/ 556 h 11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971" h="1115">
                <a:moveTo>
                  <a:pt x="1929" y="765"/>
                </a:moveTo>
                <a:lnTo>
                  <a:pt x="1926" y="777"/>
                </a:lnTo>
                <a:lnTo>
                  <a:pt x="1923" y="788"/>
                </a:lnTo>
                <a:lnTo>
                  <a:pt x="1921" y="798"/>
                </a:lnTo>
                <a:lnTo>
                  <a:pt x="1917" y="809"/>
                </a:lnTo>
                <a:lnTo>
                  <a:pt x="1911" y="829"/>
                </a:lnTo>
                <a:lnTo>
                  <a:pt x="1903" y="849"/>
                </a:lnTo>
                <a:lnTo>
                  <a:pt x="1895" y="868"/>
                </a:lnTo>
                <a:lnTo>
                  <a:pt x="1886" y="887"/>
                </a:lnTo>
                <a:lnTo>
                  <a:pt x="1881" y="896"/>
                </a:lnTo>
                <a:lnTo>
                  <a:pt x="1876" y="905"/>
                </a:lnTo>
                <a:lnTo>
                  <a:pt x="1865" y="921"/>
                </a:lnTo>
                <a:lnTo>
                  <a:pt x="1854" y="937"/>
                </a:lnTo>
                <a:lnTo>
                  <a:pt x="1842" y="952"/>
                </a:lnTo>
                <a:lnTo>
                  <a:pt x="1828" y="967"/>
                </a:lnTo>
                <a:lnTo>
                  <a:pt x="1815" y="981"/>
                </a:lnTo>
                <a:lnTo>
                  <a:pt x="1801" y="995"/>
                </a:lnTo>
                <a:lnTo>
                  <a:pt x="1787" y="1007"/>
                </a:lnTo>
                <a:lnTo>
                  <a:pt x="1771" y="1019"/>
                </a:lnTo>
                <a:lnTo>
                  <a:pt x="1756" y="1030"/>
                </a:lnTo>
                <a:lnTo>
                  <a:pt x="1740" y="1040"/>
                </a:lnTo>
                <a:lnTo>
                  <a:pt x="1723" y="1050"/>
                </a:lnTo>
                <a:lnTo>
                  <a:pt x="1707" y="1059"/>
                </a:lnTo>
                <a:lnTo>
                  <a:pt x="1689" y="1067"/>
                </a:lnTo>
                <a:lnTo>
                  <a:pt x="1671" y="1075"/>
                </a:lnTo>
                <a:lnTo>
                  <a:pt x="1653" y="1083"/>
                </a:lnTo>
                <a:lnTo>
                  <a:pt x="1634" y="1088"/>
                </a:lnTo>
                <a:lnTo>
                  <a:pt x="1616" y="1094"/>
                </a:lnTo>
                <a:lnTo>
                  <a:pt x="1597" y="1099"/>
                </a:lnTo>
                <a:lnTo>
                  <a:pt x="1577" y="1104"/>
                </a:lnTo>
                <a:lnTo>
                  <a:pt x="1558" y="1107"/>
                </a:lnTo>
                <a:lnTo>
                  <a:pt x="1538" y="1109"/>
                </a:lnTo>
                <a:lnTo>
                  <a:pt x="1519" y="1112"/>
                </a:lnTo>
                <a:lnTo>
                  <a:pt x="1499" y="1114"/>
                </a:lnTo>
                <a:lnTo>
                  <a:pt x="1479" y="1115"/>
                </a:lnTo>
                <a:lnTo>
                  <a:pt x="1459" y="1115"/>
                </a:lnTo>
                <a:lnTo>
                  <a:pt x="1434" y="1115"/>
                </a:lnTo>
                <a:lnTo>
                  <a:pt x="1409" y="1113"/>
                </a:lnTo>
                <a:lnTo>
                  <a:pt x="1385" y="1111"/>
                </a:lnTo>
                <a:lnTo>
                  <a:pt x="1361" y="1107"/>
                </a:lnTo>
                <a:lnTo>
                  <a:pt x="1337" y="1104"/>
                </a:lnTo>
                <a:lnTo>
                  <a:pt x="1315" y="1098"/>
                </a:lnTo>
                <a:lnTo>
                  <a:pt x="1292" y="1092"/>
                </a:lnTo>
                <a:lnTo>
                  <a:pt x="1271" y="1085"/>
                </a:lnTo>
                <a:lnTo>
                  <a:pt x="1259" y="1080"/>
                </a:lnTo>
                <a:lnTo>
                  <a:pt x="1249" y="1076"/>
                </a:lnTo>
                <a:lnTo>
                  <a:pt x="1228" y="1067"/>
                </a:lnTo>
                <a:lnTo>
                  <a:pt x="1208" y="1057"/>
                </a:lnTo>
                <a:lnTo>
                  <a:pt x="1188" y="1045"/>
                </a:lnTo>
                <a:lnTo>
                  <a:pt x="1169" y="1033"/>
                </a:lnTo>
                <a:lnTo>
                  <a:pt x="1151" y="1019"/>
                </a:lnTo>
                <a:lnTo>
                  <a:pt x="1133" y="1004"/>
                </a:lnTo>
                <a:lnTo>
                  <a:pt x="1124" y="996"/>
                </a:lnTo>
                <a:lnTo>
                  <a:pt x="1117" y="988"/>
                </a:lnTo>
                <a:lnTo>
                  <a:pt x="1109" y="979"/>
                </a:lnTo>
                <a:lnTo>
                  <a:pt x="1101" y="970"/>
                </a:lnTo>
                <a:lnTo>
                  <a:pt x="1093" y="961"/>
                </a:lnTo>
                <a:lnTo>
                  <a:pt x="1085" y="952"/>
                </a:lnTo>
                <a:lnTo>
                  <a:pt x="1079" y="942"/>
                </a:lnTo>
                <a:lnTo>
                  <a:pt x="1071" y="932"/>
                </a:lnTo>
                <a:lnTo>
                  <a:pt x="1064" y="922"/>
                </a:lnTo>
                <a:lnTo>
                  <a:pt x="1057" y="911"/>
                </a:lnTo>
                <a:lnTo>
                  <a:pt x="1045" y="889"/>
                </a:lnTo>
                <a:lnTo>
                  <a:pt x="1034" y="866"/>
                </a:lnTo>
                <a:lnTo>
                  <a:pt x="1028" y="853"/>
                </a:lnTo>
                <a:lnTo>
                  <a:pt x="1023" y="841"/>
                </a:lnTo>
                <a:lnTo>
                  <a:pt x="1013" y="816"/>
                </a:lnTo>
                <a:lnTo>
                  <a:pt x="1005" y="788"/>
                </a:lnTo>
                <a:lnTo>
                  <a:pt x="1001" y="774"/>
                </a:lnTo>
                <a:lnTo>
                  <a:pt x="997" y="760"/>
                </a:lnTo>
                <a:lnTo>
                  <a:pt x="991" y="730"/>
                </a:lnTo>
                <a:lnTo>
                  <a:pt x="988" y="714"/>
                </a:lnTo>
                <a:lnTo>
                  <a:pt x="985" y="699"/>
                </a:lnTo>
                <a:lnTo>
                  <a:pt x="983" y="682"/>
                </a:lnTo>
                <a:lnTo>
                  <a:pt x="982" y="665"/>
                </a:lnTo>
                <a:lnTo>
                  <a:pt x="978" y="632"/>
                </a:lnTo>
                <a:lnTo>
                  <a:pt x="976" y="596"/>
                </a:lnTo>
                <a:lnTo>
                  <a:pt x="976" y="560"/>
                </a:lnTo>
                <a:lnTo>
                  <a:pt x="976" y="522"/>
                </a:lnTo>
                <a:lnTo>
                  <a:pt x="977" y="504"/>
                </a:lnTo>
                <a:lnTo>
                  <a:pt x="978" y="486"/>
                </a:lnTo>
                <a:lnTo>
                  <a:pt x="982" y="452"/>
                </a:lnTo>
                <a:lnTo>
                  <a:pt x="983" y="435"/>
                </a:lnTo>
                <a:lnTo>
                  <a:pt x="985" y="419"/>
                </a:lnTo>
                <a:lnTo>
                  <a:pt x="991" y="387"/>
                </a:lnTo>
                <a:lnTo>
                  <a:pt x="997" y="357"/>
                </a:lnTo>
                <a:lnTo>
                  <a:pt x="1001" y="343"/>
                </a:lnTo>
                <a:lnTo>
                  <a:pt x="1005" y="328"/>
                </a:lnTo>
                <a:lnTo>
                  <a:pt x="1014" y="301"/>
                </a:lnTo>
                <a:lnTo>
                  <a:pt x="1023" y="275"/>
                </a:lnTo>
                <a:lnTo>
                  <a:pt x="1034" y="250"/>
                </a:lnTo>
                <a:lnTo>
                  <a:pt x="1040" y="238"/>
                </a:lnTo>
                <a:lnTo>
                  <a:pt x="1045" y="227"/>
                </a:lnTo>
                <a:lnTo>
                  <a:pt x="1059" y="204"/>
                </a:lnTo>
                <a:lnTo>
                  <a:pt x="1072" y="183"/>
                </a:lnTo>
                <a:lnTo>
                  <a:pt x="1086" y="163"/>
                </a:lnTo>
                <a:lnTo>
                  <a:pt x="1101" y="145"/>
                </a:lnTo>
                <a:lnTo>
                  <a:pt x="1118" y="128"/>
                </a:lnTo>
                <a:lnTo>
                  <a:pt x="1134" y="112"/>
                </a:lnTo>
                <a:lnTo>
                  <a:pt x="1151" y="97"/>
                </a:lnTo>
                <a:lnTo>
                  <a:pt x="1161" y="90"/>
                </a:lnTo>
                <a:lnTo>
                  <a:pt x="1170" y="83"/>
                </a:lnTo>
                <a:lnTo>
                  <a:pt x="1189" y="70"/>
                </a:lnTo>
                <a:lnTo>
                  <a:pt x="1208" y="59"/>
                </a:lnTo>
                <a:lnTo>
                  <a:pt x="1229" y="49"/>
                </a:lnTo>
                <a:lnTo>
                  <a:pt x="1249" y="39"/>
                </a:lnTo>
                <a:lnTo>
                  <a:pt x="1260" y="34"/>
                </a:lnTo>
                <a:lnTo>
                  <a:pt x="1272" y="31"/>
                </a:lnTo>
                <a:lnTo>
                  <a:pt x="1293" y="23"/>
                </a:lnTo>
                <a:lnTo>
                  <a:pt x="1304" y="20"/>
                </a:lnTo>
                <a:lnTo>
                  <a:pt x="1315" y="17"/>
                </a:lnTo>
                <a:lnTo>
                  <a:pt x="1339" y="12"/>
                </a:lnTo>
                <a:lnTo>
                  <a:pt x="1362" y="7"/>
                </a:lnTo>
                <a:lnTo>
                  <a:pt x="1374" y="5"/>
                </a:lnTo>
                <a:lnTo>
                  <a:pt x="1385" y="4"/>
                </a:lnTo>
                <a:lnTo>
                  <a:pt x="1410" y="2"/>
                </a:lnTo>
                <a:lnTo>
                  <a:pt x="1434" y="1"/>
                </a:lnTo>
                <a:lnTo>
                  <a:pt x="1460" y="0"/>
                </a:lnTo>
                <a:lnTo>
                  <a:pt x="1485" y="1"/>
                </a:lnTo>
                <a:lnTo>
                  <a:pt x="1509" y="2"/>
                </a:lnTo>
                <a:lnTo>
                  <a:pt x="1534" y="4"/>
                </a:lnTo>
                <a:lnTo>
                  <a:pt x="1557" y="7"/>
                </a:lnTo>
                <a:lnTo>
                  <a:pt x="1581" y="12"/>
                </a:lnTo>
                <a:lnTo>
                  <a:pt x="1604" y="17"/>
                </a:lnTo>
                <a:lnTo>
                  <a:pt x="1626" y="23"/>
                </a:lnTo>
                <a:lnTo>
                  <a:pt x="1649" y="31"/>
                </a:lnTo>
                <a:lnTo>
                  <a:pt x="1659" y="34"/>
                </a:lnTo>
                <a:lnTo>
                  <a:pt x="1670" y="39"/>
                </a:lnTo>
                <a:lnTo>
                  <a:pt x="1691" y="49"/>
                </a:lnTo>
                <a:lnTo>
                  <a:pt x="1701" y="53"/>
                </a:lnTo>
                <a:lnTo>
                  <a:pt x="1711" y="59"/>
                </a:lnTo>
                <a:lnTo>
                  <a:pt x="1721" y="64"/>
                </a:lnTo>
                <a:lnTo>
                  <a:pt x="1730" y="70"/>
                </a:lnTo>
                <a:lnTo>
                  <a:pt x="1749" y="83"/>
                </a:lnTo>
                <a:lnTo>
                  <a:pt x="1768" y="97"/>
                </a:lnTo>
                <a:lnTo>
                  <a:pt x="1786" y="112"/>
                </a:lnTo>
                <a:lnTo>
                  <a:pt x="1794" y="120"/>
                </a:lnTo>
                <a:lnTo>
                  <a:pt x="1803" y="128"/>
                </a:lnTo>
                <a:lnTo>
                  <a:pt x="1810" y="137"/>
                </a:lnTo>
                <a:lnTo>
                  <a:pt x="1818" y="145"/>
                </a:lnTo>
                <a:lnTo>
                  <a:pt x="1826" y="154"/>
                </a:lnTo>
                <a:lnTo>
                  <a:pt x="1834" y="163"/>
                </a:lnTo>
                <a:lnTo>
                  <a:pt x="1848" y="183"/>
                </a:lnTo>
                <a:lnTo>
                  <a:pt x="1855" y="193"/>
                </a:lnTo>
                <a:lnTo>
                  <a:pt x="1862" y="204"/>
                </a:lnTo>
                <a:lnTo>
                  <a:pt x="1867" y="216"/>
                </a:lnTo>
                <a:lnTo>
                  <a:pt x="1874" y="227"/>
                </a:lnTo>
                <a:lnTo>
                  <a:pt x="1885" y="250"/>
                </a:lnTo>
                <a:lnTo>
                  <a:pt x="1896" y="275"/>
                </a:lnTo>
                <a:lnTo>
                  <a:pt x="1906" y="301"/>
                </a:lnTo>
                <a:lnTo>
                  <a:pt x="1914" y="328"/>
                </a:lnTo>
                <a:lnTo>
                  <a:pt x="1919" y="343"/>
                </a:lnTo>
                <a:lnTo>
                  <a:pt x="1922" y="357"/>
                </a:lnTo>
                <a:lnTo>
                  <a:pt x="1929" y="387"/>
                </a:lnTo>
                <a:lnTo>
                  <a:pt x="1932" y="403"/>
                </a:lnTo>
                <a:lnTo>
                  <a:pt x="1934" y="419"/>
                </a:lnTo>
                <a:lnTo>
                  <a:pt x="1936" y="435"/>
                </a:lnTo>
                <a:lnTo>
                  <a:pt x="1939" y="452"/>
                </a:lnTo>
                <a:lnTo>
                  <a:pt x="1941" y="486"/>
                </a:lnTo>
                <a:lnTo>
                  <a:pt x="1943" y="522"/>
                </a:lnTo>
                <a:lnTo>
                  <a:pt x="1944" y="560"/>
                </a:lnTo>
                <a:lnTo>
                  <a:pt x="1943" y="589"/>
                </a:lnTo>
                <a:lnTo>
                  <a:pt x="1942" y="617"/>
                </a:lnTo>
                <a:lnTo>
                  <a:pt x="1942" y="631"/>
                </a:lnTo>
                <a:lnTo>
                  <a:pt x="1244" y="631"/>
                </a:lnTo>
                <a:lnTo>
                  <a:pt x="1245" y="644"/>
                </a:lnTo>
                <a:lnTo>
                  <a:pt x="1246" y="659"/>
                </a:lnTo>
                <a:lnTo>
                  <a:pt x="1247" y="671"/>
                </a:lnTo>
                <a:lnTo>
                  <a:pt x="1249" y="684"/>
                </a:lnTo>
                <a:lnTo>
                  <a:pt x="1252" y="696"/>
                </a:lnTo>
                <a:lnTo>
                  <a:pt x="1254" y="709"/>
                </a:lnTo>
                <a:lnTo>
                  <a:pt x="1260" y="732"/>
                </a:lnTo>
                <a:lnTo>
                  <a:pt x="1265" y="743"/>
                </a:lnTo>
                <a:lnTo>
                  <a:pt x="1269" y="754"/>
                </a:lnTo>
                <a:lnTo>
                  <a:pt x="1274" y="764"/>
                </a:lnTo>
                <a:lnTo>
                  <a:pt x="1278" y="774"/>
                </a:lnTo>
                <a:lnTo>
                  <a:pt x="1284" y="784"/>
                </a:lnTo>
                <a:lnTo>
                  <a:pt x="1289" y="793"/>
                </a:lnTo>
                <a:lnTo>
                  <a:pt x="1296" y="802"/>
                </a:lnTo>
                <a:lnTo>
                  <a:pt x="1303" y="811"/>
                </a:lnTo>
                <a:lnTo>
                  <a:pt x="1310" y="819"/>
                </a:lnTo>
                <a:lnTo>
                  <a:pt x="1316" y="827"/>
                </a:lnTo>
                <a:lnTo>
                  <a:pt x="1324" y="833"/>
                </a:lnTo>
                <a:lnTo>
                  <a:pt x="1332" y="840"/>
                </a:lnTo>
                <a:lnTo>
                  <a:pt x="1341" y="846"/>
                </a:lnTo>
                <a:lnTo>
                  <a:pt x="1350" y="851"/>
                </a:lnTo>
                <a:lnTo>
                  <a:pt x="1359" y="857"/>
                </a:lnTo>
                <a:lnTo>
                  <a:pt x="1369" y="861"/>
                </a:lnTo>
                <a:lnTo>
                  <a:pt x="1379" y="865"/>
                </a:lnTo>
                <a:lnTo>
                  <a:pt x="1389" y="869"/>
                </a:lnTo>
                <a:lnTo>
                  <a:pt x="1400" y="871"/>
                </a:lnTo>
                <a:lnTo>
                  <a:pt x="1411" y="875"/>
                </a:lnTo>
                <a:lnTo>
                  <a:pt x="1422" y="876"/>
                </a:lnTo>
                <a:lnTo>
                  <a:pt x="1434" y="878"/>
                </a:lnTo>
                <a:lnTo>
                  <a:pt x="1447" y="878"/>
                </a:lnTo>
                <a:lnTo>
                  <a:pt x="1459" y="879"/>
                </a:lnTo>
                <a:lnTo>
                  <a:pt x="1469" y="879"/>
                </a:lnTo>
                <a:lnTo>
                  <a:pt x="1479" y="878"/>
                </a:lnTo>
                <a:lnTo>
                  <a:pt x="1489" y="877"/>
                </a:lnTo>
                <a:lnTo>
                  <a:pt x="1498" y="876"/>
                </a:lnTo>
                <a:lnTo>
                  <a:pt x="1507" y="875"/>
                </a:lnTo>
                <a:lnTo>
                  <a:pt x="1516" y="872"/>
                </a:lnTo>
                <a:lnTo>
                  <a:pt x="1534" y="868"/>
                </a:lnTo>
                <a:lnTo>
                  <a:pt x="1549" y="862"/>
                </a:lnTo>
                <a:lnTo>
                  <a:pt x="1557" y="859"/>
                </a:lnTo>
                <a:lnTo>
                  <a:pt x="1565" y="856"/>
                </a:lnTo>
                <a:lnTo>
                  <a:pt x="1578" y="848"/>
                </a:lnTo>
                <a:lnTo>
                  <a:pt x="1585" y="845"/>
                </a:lnTo>
                <a:lnTo>
                  <a:pt x="1592" y="840"/>
                </a:lnTo>
                <a:lnTo>
                  <a:pt x="1604" y="831"/>
                </a:lnTo>
                <a:lnTo>
                  <a:pt x="1615" y="821"/>
                </a:lnTo>
                <a:lnTo>
                  <a:pt x="1625" y="811"/>
                </a:lnTo>
                <a:lnTo>
                  <a:pt x="1634" y="801"/>
                </a:lnTo>
                <a:lnTo>
                  <a:pt x="1642" y="790"/>
                </a:lnTo>
                <a:lnTo>
                  <a:pt x="1649" y="779"/>
                </a:lnTo>
                <a:lnTo>
                  <a:pt x="1652" y="773"/>
                </a:lnTo>
                <a:lnTo>
                  <a:pt x="1654" y="768"/>
                </a:lnTo>
                <a:lnTo>
                  <a:pt x="1660" y="757"/>
                </a:lnTo>
                <a:lnTo>
                  <a:pt x="1931" y="752"/>
                </a:lnTo>
                <a:lnTo>
                  <a:pt x="1929" y="765"/>
                </a:lnTo>
                <a:close/>
                <a:moveTo>
                  <a:pt x="1460" y="216"/>
                </a:moveTo>
                <a:lnTo>
                  <a:pt x="1449" y="217"/>
                </a:lnTo>
                <a:lnTo>
                  <a:pt x="1437" y="218"/>
                </a:lnTo>
                <a:lnTo>
                  <a:pt x="1426" y="219"/>
                </a:lnTo>
                <a:lnTo>
                  <a:pt x="1414" y="221"/>
                </a:lnTo>
                <a:lnTo>
                  <a:pt x="1404" y="223"/>
                </a:lnTo>
                <a:lnTo>
                  <a:pt x="1394" y="227"/>
                </a:lnTo>
                <a:lnTo>
                  <a:pt x="1384" y="230"/>
                </a:lnTo>
                <a:lnTo>
                  <a:pt x="1375" y="233"/>
                </a:lnTo>
                <a:lnTo>
                  <a:pt x="1366" y="238"/>
                </a:lnTo>
                <a:lnTo>
                  <a:pt x="1359" y="243"/>
                </a:lnTo>
                <a:lnTo>
                  <a:pt x="1351" y="248"/>
                </a:lnTo>
                <a:lnTo>
                  <a:pt x="1343" y="253"/>
                </a:lnTo>
                <a:lnTo>
                  <a:pt x="1335" y="259"/>
                </a:lnTo>
                <a:lnTo>
                  <a:pt x="1329" y="266"/>
                </a:lnTo>
                <a:lnTo>
                  <a:pt x="1316" y="278"/>
                </a:lnTo>
                <a:lnTo>
                  <a:pt x="1310" y="285"/>
                </a:lnTo>
                <a:lnTo>
                  <a:pt x="1305" y="291"/>
                </a:lnTo>
                <a:lnTo>
                  <a:pt x="1295" y="306"/>
                </a:lnTo>
                <a:lnTo>
                  <a:pt x="1286" y="320"/>
                </a:lnTo>
                <a:lnTo>
                  <a:pt x="1279" y="335"/>
                </a:lnTo>
                <a:lnTo>
                  <a:pt x="1273" y="349"/>
                </a:lnTo>
                <a:lnTo>
                  <a:pt x="1268" y="364"/>
                </a:lnTo>
                <a:lnTo>
                  <a:pt x="1265" y="377"/>
                </a:lnTo>
                <a:lnTo>
                  <a:pt x="1263" y="390"/>
                </a:lnTo>
                <a:lnTo>
                  <a:pt x="1262" y="412"/>
                </a:lnTo>
                <a:lnTo>
                  <a:pt x="1661" y="412"/>
                </a:lnTo>
                <a:lnTo>
                  <a:pt x="1661" y="390"/>
                </a:lnTo>
                <a:lnTo>
                  <a:pt x="1658" y="377"/>
                </a:lnTo>
                <a:lnTo>
                  <a:pt x="1654" y="364"/>
                </a:lnTo>
                <a:lnTo>
                  <a:pt x="1650" y="349"/>
                </a:lnTo>
                <a:lnTo>
                  <a:pt x="1643" y="335"/>
                </a:lnTo>
                <a:lnTo>
                  <a:pt x="1636" y="320"/>
                </a:lnTo>
                <a:lnTo>
                  <a:pt x="1627" y="306"/>
                </a:lnTo>
                <a:lnTo>
                  <a:pt x="1617" y="291"/>
                </a:lnTo>
                <a:lnTo>
                  <a:pt x="1612" y="285"/>
                </a:lnTo>
                <a:lnTo>
                  <a:pt x="1606" y="278"/>
                </a:lnTo>
                <a:lnTo>
                  <a:pt x="1600" y="271"/>
                </a:lnTo>
                <a:lnTo>
                  <a:pt x="1593" y="266"/>
                </a:lnTo>
                <a:lnTo>
                  <a:pt x="1586" y="259"/>
                </a:lnTo>
                <a:lnTo>
                  <a:pt x="1578" y="253"/>
                </a:lnTo>
                <a:lnTo>
                  <a:pt x="1563" y="243"/>
                </a:lnTo>
                <a:lnTo>
                  <a:pt x="1555" y="238"/>
                </a:lnTo>
                <a:lnTo>
                  <a:pt x="1546" y="233"/>
                </a:lnTo>
                <a:lnTo>
                  <a:pt x="1537" y="230"/>
                </a:lnTo>
                <a:lnTo>
                  <a:pt x="1527" y="227"/>
                </a:lnTo>
                <a:lnTo>
                  <a:pt x="1517" y="223"/>
                </a:lnTo>
                <a:lnTo>
                  <a:pt x="1507" y="221"/>
                </a:lnTo>
                <a:lnTo>
                  <a:pt x="1496" y="219"/>
                </a:lnTo>
                <a:lnTo>
                  <a:pt x="1485" y="218"/>
                </a:lnTo>
                <a:lnTo>
                  <a:pt x="1472" y="217"/>
                </a:lnTo>
                <a:lnTo>
                  <a:pt x="1460" y="216"/>
                </a:lnTo>
                <a:close/>
                <a:moveTo>
                  <a:pt x="5407" y="410"/>
                </a:moveTo>
                <a:lnTo>
                  <a:pt x="5713" y="410"/>
                </a:lnTo>
                <a:lnTo>
                  <a:pt x="5713" y="368"/>
                </a:lnTo>
                <a:lnTo>
                  <a:pt x="5712" y="356"/>
                </a:lnTo>
                <a:lnTo>
                  <a:pt x="5710" y="344"/>
                </a:lnTo>
                <a:lnTo>
                  <a:pt x="5707" y="331"/>
                </a:lnTo>
                <a:lnTo>
                  <a:pt x="5702" y="320"/>
                </a:lnTo>
                <a:lnTo>
                  <a:pt x="5697" y="308"/>
                </a:lnTo>
                <a:lnTo>
                  <a:pt x="5693" y="302"/>
                </a:lnTo>
                <a:lnTo>
                  <a:pt x="5690" y="297"/>
                </a:lnTo>
                <a:lnTo>
                  <a:pt x="5681" y="286"/>
                </a:lnTo>
                <a:lnTo>
                  <a:pt x="5671" y="276"/>
                </a:lnTo>
                <a:lnTo>
                  <a:pt x="5660" y="267"/>
                </a:lnTo>
                <a:lnTo>
                  <a:pt x="5654" y="262"/>
                </a:lnTo>
                <a:lnTo>
                  <a:pt x="5648" y="258"/>
                </a:lnTo>
                <a:lnTo>
                  <a:pt x="5641" y="255"/>
                </a:lnTo>
                <a:lnTo>
                  <a:pt x="5633" y="251"/>
                </a:lnTo>
                <a:lnTo>
                  <a:pt x="5619" y="245"/>
                </a:lnTo>
                <a:lnTo>
                  <a:pt x="5602" y="239"/>
                </a:lnTo>
                <a:lnTo>
                  <a:pt x="5583" y="236"/>
                </a:lnTo>
                <a:lnTo>
                  <a:pt x="5574" y="233"/>
                </a:lnTo>
                <a:lnTo>
                  <a:pt x="5564" y="233"/>
                </a:lnTo>
                <a:lnTo>
                  <a:pt x="5553" y="232"/>
                </a:lnTo>
                <a:lnTo>
                  <a:pt x="5543" y="232"/>
                </a:lnTo>
                <a:lnTo>
                  <a:pt x="5520" y="232"/>
                </a:lnTo>
                <a:lnTo>
                  <a:pt x="5499" y="233"/>
                </a:lnTo>
                <a:lnTo>
                  <a:pt x="5481" y="236"/>
                </a:lnTo>
                <a:lnTo>
                  <a:pt x="5465" y="238"/>
                </a:lnTo>
                <a:lnTo>
                  <a:pt x="5449" y="241"/>
                </a:lnTo>
                <a:lnTo>
                  <a:pt x="5436" y="246"/>
                </a:lnTo>
                <a:lnTo>
                  <a:pt x="5423" y="251"/>
                </a:lnTo>
                <a:lnTo>
                  <a:pt x="5419" y="253"/>
                </a:lnTo>
                <a:lnTo>
                  <a:pt x="5413" y="257"/>
                </a:lnTo>
                <a:lnTo>
                  <a:pt x="5403" y="263"/>
                </a:lnTo>
                <a:lnTo>
                  <a:pt x="5399" y="267"/>
                </a:lnTo>
                <a:lnTo>
                  <a:pt x="5396" y="270"/>
                </a:lnTo>
                <a:lnTo>
                  <a:pt x="5388" y="278"/>
                </a:lnTo>
                <a:lnTo>
                  <a:pt x="5381" y="287"/>
                </a:lnTo>
                <a:lnTo>
                  <a:pt x="5375" y="296"/>
                </a:lnTo>
                <a:lnTo>
                  <a:pt x="5371" y="306"/>
                </a:lnTo>
                <a:lnTo>
                  <a:pt x="5367" y="317"/>
                </a:lnTo>
                <a:lnTo>
                  <a:pt x="5362" y="328"/>
                </a:lnTo>
                <a:lnTo>
                  <a:pt x="5360" y="336"/>
                </a:lnTo>
                <a:lnTo>
                  <a:pt x="5100" y="336"/>
                </a:lnTo>
                <a:lnTo>
                  <a:pt x="5103" y="320"/>
                </a:lnTo>
                <a:lnTo>
                  <a:pt x="5109" y="298"/>
                </a:lnTo>
                <a:lnTo>
                  <a:pt x="5116" y="276"/>
                </a:lnTo>
                <a:lnTo>
                  <a:pt x="5123" y="255"/>
                </a:lnTo>
                <a:lnTo>
                  <a:pt x="5131" y="235"/>
                </a:lnTo>
                <a:lnTo>
                  <a:pt x="5135" y="225"/>
                </a:lnTo>
                <a:lnTo>
                  <a:pt x="5139" y="216"/>
                </a:lnTo>
                <a:lnTo>
                  <a:pt x="5148" y="198"/>
                </a:lnTo>
                <a:lnTo>
                  <a:pt x="5157" y="181"/>
                </a:lnTo>
                <a:lnTo>
                  <a:pt x="5167" y="164"/>
                </a:lnTo>
                <a:lnTo>
                  <a:pt x="5177" y="149"/>
                </a:lnTo>
                <a:lnTo>
                  <a:pt x="5188" y="134"/>
                </a:lnTo>
                <a:lnTo>
                  <a:pt x="5194" y="128"/>
                </a:lnTo>
                <a:lnTo>
                  <a:pt x="5199" y="121"/>
                </a:lnTo>
                <a:lnTo>
                  <a:pt x="5206" y="115"/>
                </a:lnTo>
                <a:lnTo>
                  <a:pt x="5211" y="109"/>
                </a:lnTo>
                <a:lnTo>
                  <a:pt x="5224" y="97"/>
                </a:lnTo>
                <a:lnTo>
                  <a:pt x="5237" y="87"/>
                </a:lnTo>
                <a:lnTo>
                  <a:pt x="5251" y="75"/>
                </a:lnTo>
                <a:lnTo>
                  <a:pt x="5264" y="66"/>
                </a:lnTo>
                <a:lnTo>
                  <a:pt x="5278" y="58"/>
                </a:lnTo>
                <a:lnTo>
                  <a:pt x="5293" y="50"/>
                </a:lnTo>
                <a:lnTo>
                  <a:pt x="5309" y="42"/>
                </a:lnTo>
                <a:lnTo>
                  <a:pt x="5324" y="35"/>
                </a:lnTo>
                <a:lnTo>
                  <a:pt x="5340" y="30"/>
                </a:lnTo>
                <a:lnTo>
                  <a:pt x="5356" y="24"/>
                </a:lnTo>
                <a:lnTo>
                  <a:pt x="5373" y="20"/>
                </a:lnTo>
                <a:lnTo>
                  <a:pt x="5390" y="15"/>
                </a:lnTo>
                <a:lnTo>
                  <a:pt x="5408" y="12"/>
                </a:lnTo>
                <a:lnTo>
                  <a:pt x="5427" y="9"/>
                </a:lnTo>
                <a:lnTo>
                  <a:pt x="5445" y="6"/>
                </a:lnTo>
                <a:lnTo>
                  <a:pt x="5464" y="4"/>
                </a:lnTo>
                <a:lnTo>
                  <a:pt x="5483" y="3"/>
                </a:lnTo>
                <a:lnTo>
                  <a:pt x="5503" y="2"/>
                </a:lnTo>
                <a:lnTo>
                  <a:pt x="5523" y="1"/>
                </a:lnTo>
                <a:lnTo>
                  <a:pt x="5543" y="1"/>
                </a:lnTo>
                <a:lnTo>
                  <a:pt x="5565" y="1"/>
                </a:lnTo>
                <a:lnTo>
                  <a:pt x="5586" y="2"/>
                </a:lnTo>
                <a:lnTo>
                  <a:pt x="5609" y="4"/>
                </a:lnTo>
                <a:lnTo>
                  <a:pt x="5630" y="7"/>
                </a:lnTo>
                <a:lnTo>
                  <a:pt x="5650" y="12"/>
                </a:lnTo>
                <a:lnTo>
                  <a:pt x="5670" y="16"/>
                </a:lnTo>
                <a:lnTo>
                  <a:pt x="5690" y="22"/>
                </a:lnTo>
                <a:lnTo>
                  <a:pt x="5710" y="28"/>
                </a:lnTo>
                <a:lnTo>
                  <a:pt x="5729" y="35"/>
                </a:lnTo>
                <a:lnTo>
                  <a:pt x="5747" y="43"/>
                </a:lnTo>
                <a:lnTo>
                  <a:pt x="5765" y="51"/>
                </a:lnTo>
                <a:lnTo>
                  <a:pt x="5783" y="60"/>
                </a:lnTo>
                <a:lnTo>
                  <a:pt x="5799" y="70"/>
                </a:lnTo>
                <a:lnTo>
                  <a:pt x="5815" y="81"/>
                </a:lnTo>
                <a:lnTo>
                  <a:pt x="5831" y="92"/>
                </a:lnTo>
                <a:lnTo>
                  <a:pt x="5846" y="104"/>
                </a:lnTo>
                <a:lnTo>
                  <a:pt x="5860" y="117"/>
                </a:lnTo>
                <a:lnTo>
                  <a:pt x="5873" y="130"/>
                </a:lnTo>
                <a:lnTo>
                  <a:pt x="5886" y="143"/>
                </a:lnTo>
                <a:lnTo>
                  <a:pt x="5897" y="158"/>
                </a:lnTo>
                <a:lnTo>
                  <a:pt x="5909" y="172"/>
                </a:lnTo>
                <a:lnTo>
                  <a:pt x="5919" y="188"/>
                </a:lnTo>
                <a:lnTo>
                  <a:pt x="5929" y="203"/>
                </a:lnTo>
                <a:lnTo>
                  <a:pt x="5937" y="220"/>
                </a:lnTo>
                <a:lnTo>
                  <a:pt x="5941" y="229"/>
                </a:lnTo>
                <a:lnTo>
                  <a:pt x="5944" y="237"/>
                </a:lnTo>
                <a:lnTo>
                  <a:pt x="5948" y="246"/>
                </a:lnTo>
                <a:lnTo>
                  <a:pt x="5951" y="255"/>
                </a:lnTo>
                <a:lnTo>
                  <a:pt x="5957" y="272"/>
                </a:lnTo>
                <a:lnTo>
                  <a:pt x="5962" y="290"/>
                </a:lnTo>
                <a:lnTo>
                  <a:pt x="5963" y="300"/>
                </a:lnTo>
                <a:lnTo>
                  <a:pt x="5966" y="309"/>
                </a:lnTo>
                <a:lnTo>
                  <a:pt x="5968" y="329"/>
                </a:lnTo>
                <a:lnTo>
                  <a:pt x="5970" y="348"/>
                </a:lnTo>
                <a:lnTo>
                  <a:pt x="5970" y="368"/>
                </a:lnTo>
                <a:lnTo>
                  <a:pt x="5971" y="492"/>
                </a:lnTo>
                <a:lnTo>
                  <a:pt x="5970" y="616"/>
                </a:lnTo>
                <a:lnTo>
                  <a:pt x="5970" y="1093"/>
                </a:lnTo>
                <a:lnTo>
                  <a:pt x="5728" y="1093"/>
                </a:lnTo>
                <a:lnTo>
                  <a:pt x="5628" y="1093"/>
                </a:lnTo>
                <a:lnTo>
                  <a:pt x="5525" y="1093"/>
                </a:lnTo>
                <a:lnTo>
                  <a:pt x="5407" y="1093"/>
                </a:lnTo>
                <a:lnTo>
                  <a:pt x="5388" y="1093"/>
                </a:lnTo>
                <a:lnTo>
                  <a:pt x="5369" y="1092"/>
                </a:lnTo>
                <a:lnTo>
                  <a:pt x="5351" y="1089"/>
                </a:lnTo>
                <a:lnTo>
                  <a:pt x="5333" y="1087"/>
                </a:lnTo>
                <a:lnTo>
                  <a:pt x="5315" y="1084"/>
                </a:lnTo>
                <a:lnTo>
                  <a:pt x="5298" y="1079"/>
                </a:lnTo>
                <a:lnTo>
                  <a:pt x="5282" y="1075"/>
                </a:lnTo>
                <a:lnTo>
                  <a:pt x="5265" y="1069"/>
                </a:lnTo>
                <a:lnTo>
                  <a:pt x="5249" y="1064"/>
                </a:lnTo>
                <a:lnTo>
                  <a:pt x="5234" y="1056"/>
                </a:lnTo>
                <a:lnTo>
                  <a:pt x="5218" y="1049"/>
                </a:lnTo>
                <a:lnTo>
                  <a:pt x="5204" y="1040"/>
                </a:lnTo>
                <a:lnTo>
                  <a:pt x="5189" y="1032"/>
                </a:lnTo>
                <a:lnTo>
                  <a:pt x="5176" y="1023"/>
                </a:lnTo>
                <a:lnTo>
                  <a:pt x="5162" y="1013"/>
                </a:lnTo>
                <a:lnTo>
                  <a:pt x="5150" y="1001"/>
                </a:lnTo>
                <a:lnTo>
                  <a:pt x="5138" y="990"/>
                </a:lnTo>
                <a:lnTo>
                  <a:pt x="5127" y="979"/>
                </a:lnTo>
                <a:lnTo>
                  <a:pt x="5117" y="967"/>
                </a:lnTo>
                <a:lnTo>
                  <a:pt x="5107" y="954"/>
                </a:lnTo>
                <a:lnTo>
                  <a:pt x="5097" y="940"/>
                </a:lnTo>
                <a:lnTo>
                  <a:pt x="5089" y="927"/>
                </a:lnTo>
                <a:lnTo>
                  <a:pt x="5080" y="912"/>
                </a:lnTo>
                <a:lnTo>
                  <a:pt x="5073" y="898"/>
                </a:lnTo>
                <a:lnTo>
                  <a:pt x="5066" y="882"/>
                </a:lnTo>
                <a:lnTo>
                  <a:pt x="5061" y="867"/>
                </a:lnTo>
                <a:lnTo>
                  <a:pt x="5056" y="850"/>
                </a:lnTo>
                <a:lnTo>
                  <a:pt x="5052" y="833"/>
                </a:lnTo>
                <a:lnTo>
                  <a:pt x="5049" y="817"/>
                </a:lnTo>
                <a:lnTo>
                  <a:pt x="5046" y="800"/>
                </a:lnTo>
                <a:lnTo>
                  <a:pt x="5045" y="782"/>
                </a:lnTo>
                <a:lnTo>
                  <a:pt x="5045" y="763"/>
                </a:lnTo>
                <a:lnTo>
                  <a:pt x="5045" y="745"/>
                </a:lnTo>
                <a:lnTo>
                  <a:pt x="5046" y="728"/>
                </a:lnTo>
                <a:lnTo>
                  <a:pt x="5049" y="710"/>
                </a:lnTo>
                <a:lnTo>
                  <a:pt x="5052" y="693"/>
                </a:lnTo>
                <a:lnTo>
                  <a:pt x="5056" y="675"/>
                </a:lnTo>
                <a:lnTo>
                  <a:pt x="5061" y="659"/>
                </a:lnTo>
                <a:lnTo>
                  <a:pt x="5066" y="642"/>
                </a:lnTo>
                <a:lnTo>
                  <a:pt x="5073" y="626"/>
                </a:lnTo>
                <a:lnTo>
                  <a:pt x="5080" y="611"/>
                </a:lnTo>
                <a:lnTo>
                  <a:pt x="5088" y="595"/>
                </a:lnTo>
                <a:lnTo>
                  <a:pt x="5097" y="581"/>
                </a:lnTo>
                <a:lnTo>
                  <a:pt x="5106" y="566"/>
                </a:lnTo>
                <a:lnTo>
                  <a:pt x="5116" y="553"/>
                </a:lnTo>
                <a:lnTo>
                  <a:pt x="5127" y="540"/>
                </a:lnTo>
                <a:lnTo>
                  <a:pt x="5138" y="526"/>
                </a:lnTo>
                <a:lnTo>
                  <a:pt x="5150" y="514"/>
                </a:lnTo>
                <a:lnTo>
                  <a:pt x="5162" y="503"/>
                </a:lnTo>
                <a:lnTo>
                  <a:pt x="5176" y="492"/>
                </a:lnTo>
                <a:lnTo>
                  <a:pt x="5189" y="481"/>
                </a:lnTo>
                <a:lnTo>
                  <a:pt x="5203" y="472"/>
                </a:lnTo>
                <a:lnTo>
                  <a:pt x="5218" y="462"/>
                </a:lnTo>
                <a:lnTo>
                  <a:pt x="5233" y="454"/>
                </a:lnTo>
                <a:lnTo>
                  <a:pt x="5248" y="446"/>
                </a:lnTo>
                <a:lnTo>
                  <a:pt x="5265" y="438"/>
                </a:lnTo>
                <a:lnTo>
                  <a:pt x="5281" y="433"/>
                </a:lnTo>
                <a:lnTo>
                  <a:pt x="5298" y="427"/>
                </a:lnTo>
                <a:lnTo>
                  <a:pt x="5315" y="422"/>
                </a:lnTo>
                <a:lnTo>
                  <a:pt x="5333" y="418"/>
                </a:lnTo>
                <a:lnTo>
                  <a:pt x="5351" y="415"/>
                </a:lnTo>
                <a:lnTo>
                  <a:pt x="5369" y="413"/>
                </a:lnTo>
                <a:lnTo>
                  <a:pt x="5388" y="412"/>
                </a:lnTo>
                <a:lnTo>
                  <a:pt x="5407" y="410"/>
                </a:lnTo>
                <a:close/>
                <a:moveTo>
                  <a:pt x="5713" y="835"/>
                </a:moveTo>
                <a:lnTo>
                  <a:pt x="5712" y="750"/>
                </a:lnTo>
                <a:lnTo>
                  <a:pt x="5712" y="634"/>
                </a:lnTo>
                <a:lnTo>
                  <a:pt x="5428" y="634"/>
                </a:lnTo>
                <a:lnTo>
                  <a:pt x="5413" y="634"/>
                </a:lnTo>
                <a:lnTo>
                  <a:pt x="5407" y="635"/>
                </a:lnTo>
                <a:lnTo>
                  <a:pt x="5400" y="636"/>
                </a:lnTo>
                <a:lnTo>
                  <a:pt x="5388" y="640"/>
                </a:lnTo>
                <a:lnTo>
                  <a:pt x="5382" y="641"/>
                </a:lnTo>
                <a:lnTo>
                  <a:pt x="5375" y="643"/>
                </a:lnTo>
                <a:lnTo>
                  <a:pt x="5365" y="649"/>
                </a:lnTo>
                <a:lnTo>
                  <a:pt x="5354" y="655"/>
                </a:lnTo>
                <a:lnTo>
                  <a:pt x="5345" y="662"/>
                </a:lnTo>
                <a:lnTo>
                  <a:pt x="5336" y="670"/>
                </a:lnTo>
                <a:lnTo>
                  <a:pt x="5333" y="674"/>
                </a:lnTo>
                <a:lnTo>
                  <a:pt x="5329" y="679"/>
                </a:lnTo>
                <a:lnTo>
                  <a:pt x="5322" y="688"/>
                </a:lnTo>
                <a:lnTo>
                  <a:pt x="5316" y="696"/>
                </a:lnTo>
                <a:lnTo>
                  <a:pt x="5312" y="708"/>
                </a:lnTo>
                <a:lnTo>
                  <a:pt x="5309" y="718"/>
                </a:lnTo>
                <a:lnTo>
                  <a:pt x="5305" y="729"/>
                </a:lnTo>
                <a:lnTo>
                  <a:pt x="5304" y="739"/>
                </a:lnTo>
                <a:lnTo>
                  <a:pt x="5303" y="750"/>
                </a:lnTo>
                <a:lnTo>
                  <a:pt x="5304" y="761"/>
                </a:lnTo>
                <a:lnTo>
                  <a:pt x="5305" y="772"/>
                </a:lnTo>
                <a:lnTo>
                  <a:pt x="5309" y="783"/>
                </a:lnTo>
                <a:lnTo>
                  <a:pt x="5312" y="793"/>
                </a:lnTo>
                <a:lnTo>
                  <a:pt x="5316" y="803"/>
                </a:lnTo>
                <a:lnTo>
                  <a:pt x="5320" y="808"/>
                </a:lnTo>
                <a:lnTo>
                  <a:pt x="5322" y="812"/>
                </a:lnTo>
                <a:lnTo>
                  <a:pt x="5329" y="822"/>
                </a:lnTo>
                <a:lnTo>
                  <a:pt x="5336" y="830"/>
                </a:lnTo>
                <a:lnTo>
                  <a:pt x="5345" y="838"/>
                </a:lnTo>
                <a:lnTo>
                  <a:pt x="5354" y="845"/>
                </a:lnTo>
                <a:lnTo>
                  <a:pt x="5364" y="851"/>
                </a:lnTo>
                <a:lnTo>
                  <a:pt x="5375" y="857"/>
                </a:lnTo>
                <a:lnTo>
                  <a:pt x="5388" y="861"/>
                </a:lnTo>
                <a:lnTo>
                  <a:pt x="5400" y="863"/>
                </a:lnTo>
                <a:lnTo>
                  <a:pt x="5407" y="865"/>
                </a:lnTo>
                <a:lnTo>
                  <a:pt x="5413" y="866"/>
                </a:lnTo>
                <a:lnTo>
                  <a:pt x="5428" y="867"/>
                </a:lnTo>
                <a:lnTo>
                  <a:pt x="5713" y="867"/>
                </a:lnTo>
                <a:lnTo>
                  <a:pt x="5713" y="835"/>
                </a:lnTo>
                <a:close/>
                <a:moveTo>
                  <a:pt x="254" y="405"/>
                </a:moveTo>
                <a:lnTo>
                  <a:pt x="260" y="404"/>
                </a:lnTo>
                <a:lnTo>
                  <a:pt x="271" y="400"/>
                </a:lnTo>
                <a:lnTo>
                  <a:pt x="282" y="397"/>
                </a:lnTo>
                <a:lnTo>
                  <a:pt x="305" y="390"/>
                </a:lnTo>
                <a:lnTo>
                  <a:pt x="325" y="381"/>
                </a:lnTo>
                <a:lnTo>
                  <a:pt x="345" y="371"/>
                </a:lnTo>
                <a:lnTo>
                  <a:pt x="364" y="360"/>
                </a:lnTo>
                <a:lnTo>
                  <a:pt x="383" y="349"/>
                </a:lnTo>
                <a:lnTo>
                  <a:pt x="399" y="336"/>
                </a:lnTo>
                <a:lnTo>
                  <a:pt x="416" y="322"/>
                </a:lnTo>
                <a:lnTo>
                  <a:pt x="432" y="308"/>
                </a:lnTo>
                <a:lnTo>
                  <a:pt x="447" y="294"/>
                </a:lnTo>
                <a:lnTo>
                  <a:pt x="462" y="279"/>
                </a:lnTo>
                <a:lnTo>
                  <a:pt x="468" y="271"/>
                </a:lnTo>
                <a:lnTo>
                  <a:pt x="475" y="263"/>
                </a:lnTo>
                <a:lnTo>
                  <a:pt x="487" y="247"/>
                </a:lnTo>
                <a:lnTo>
                  <a:pt x="500" y="231"/>
                </a:lnTo>
                <a:lnTo>
                  <a:pt x="511" y="216"/>
                </a:lnTo>
                <a:lnTo>
                  <a:pt x="521" y="199"/>
                </a:lnTo>
                <a:lnTo>
                  <a:pt x="540" y="168"/>
                </a:lnTo>
                <a:lnTo>
                  <a:pt x="557" y="138"/>
                </a:lnTo>
                <a:lnTo>
                  <a:pt x="570" y="111"/>
                </a:lnTo>
                <a:lnTo>
                  <a:pt x="580" y="87"/>
                </a:lnTo>
                <a:lnTo>
                  <a:pt x="589" y="65"/>
                </a:lnTo>
                <a:lnTo>
                  <a:pt x="595" y="50"/>
                </a:lnTo>
                <a:lnTo>
                  <a:pt x="599" y="35"/>
                </a:lnTo>
                <a:lnTo>
                  <a:pt x="605" y="20"/>
                </a:lnTo>
                <a:lnTo>
                  <a:pt x="843" y="20"/>
                </a:lnTo>
                <a:lnTo>
                  <a:pt x="840" y="42"/>
                </a:lnTo>
                <a:lnTo>
                  <a:pt x="837" y="58"/>
                </a:lnTo>
                <a:lnTo>
                  <a:pt x="833" y="75"/>
                </a:lnTo>
                <a:lnTo>
                  <a:pt x="827" y="99"/>
                </a:lnTo>
                <a:lnTo>
                  <a:pt x="819" y="127"/>
                </a:lnTo>
                <a:lnTo>
                  <a:pt x="809" y="160"/>
                </a:lnTo>
                <a:lnTo>
                  <a:pt x="802" y="178"/>
                </a:lnTo>
                <a:lnTo>
                  <a:pt x="794" y="196"/>
                </a:lnTo>
                <a:lnTo>
                  <a:pt x="786" y="215"/>
                </a:lnTo>
                <a:lnTo>
                  <a:pt x="777" y="235"/>
                </a:lnTo>
                <a:lnTo>
                  <a:pt x="769" y="253"/>
                </a:lnTo>
                <a:lnTo>
                  <a:pt x="760" y="274"/>
                </a:lnTo>
                <a:lnTo>
                  <a:pt x="748" y="292"/>
                </a:lnTo>
                <a:lnTo>
                  <a:pt x="737" y="312"/>
                </a:lnTo>
                <a:lnTo>
                  <a:pt x="725" y="332"/>
                </a:lnTo>
                <a:lnTo>
                  <a:pt x="712" y="353"/>
                </a:lnTo>
                <a:lnTo>
                  <a:pt x="697" y="373"/>
                </a:lnTo>
                <a:lnTo>
                  <a:pt x="682" y="393"/>
                </a:lnTo>
                <a:lnTo>
                  <a:pt x="666" y="413"/>
                </a:lnTo>
                <a:lnTo>
                  <a:pt x="648" y="433"/>
                </a:lnTo>
                <a:lnTo>
                  <a:pt x="630" y="452"/>
                </a:lnTo>
                <a:lnTo>
                  <a:pt x="610" y="471"/>
                </a:lnTo>
                <a:lnTo>
                  <a:pt x="590" y="489"/>
                </a:lnTo>
                <a:lnTo>
                  <a:pt x="579" y="498"/>
                </a:lnTo>
                <a:lnTo>
                  <a:pt x="568" y="507"/>
                </a:lnTo>
                <a:lnTo>
                  <a:pt x="545" y="524"/>
                </a:lnTo>
                <a:lnTo>
                  <a:pt x="521" y="541"/>
                </a:lnTo>
                <a:lnTo>
                  <a:pt x="514" y="545"/>
                </a:lnTo>
                <a:lnTo>
                  <a:pt x="521" y="548"/>
                </a:lnTo>
                <a:lnTo>
                  <a:pt x="545" y="565"/>
                </a:lnTo>
                <a:lnTo>
                  <a:pt x="569" y="584"/>
                </a:lnTo>
                <a:lnTo>
                  <a:pt x="591" y="602"/>
                </a:lnTo>
                <a:lnTo>
                  <a:pt x="612" y="622"/>
                </a:lnTo>
                <a:lnTo>
                  <a:pt x="632" y="641"/>
                </a:lnTo>
                <a:lnTo>
                  <a:pt x="641" y="651"/>
                </a:lnTo>
                <a:lnTo>
                  <a:pt x="651" y="661"/>
                </a:lnTo>
                <a:lnTo>
                  <a:pt x="660" y="672"/>
                </a:lnTo>
                <a:lnTo>
                  <a:pt x="668" y="682"/>
                </a:lnTo>
                <a:lnTo>
                  <a:pt x="685" y="703"/>
                </a:lnTo>
                <a:lnTo>
                  <a:pt x="701" y="724"/>
                </a:lnTo>
                <a:lnTo>
                  <a:pt x="715" y="745"/>
                </a:lnTo>
                <a:lnTo>
                  <a:pt x="728" y="767"/>
                </a:lnTo>
                <a:lnTo>
                  <a:pt x="742" y="788"/>
                </a:lnTo>
                <a:lnTo>
                  <a:pt x="753" y="809"/>
                </a:lnTo>
                <a:lnTo>
                  <a:pt x="764" y="829"/>
                </a:lnTo>
                <a:lnTo>
                  <a:pt x="774" y="850"/>
                </a:lnTo>
                <a:lnTo>
                  <a:pt x="783" y="870"/>
                </a:lnTo>
                <a:lnTo>
                  <a:pt x="792" y="890"/>
                </a:lnTo>
                <a:lnTo>
                  <a:pt x="801" y="911"/>
                </a:lnTo>
                <a:lnTo>
                  <a:pt x="808" y="930"/>
                </a:lnTo>
                <a:lnTo>
                  <a:pt x="814" y="949"/>
                </a:lnTo>
                <a:lnTo>
                  <a:pt x="820" y="967"/>
                </a:lnTo>
                <a:lnTo>
                  <a:pt x="825" y="984"/>
                </a:lnTo>
                <a:lnTo>
                  <a:pt x="833" y="1014"/>
                </a:lnTo>
                <a:lnTo>
                  <a:pt x="839" y="1038"/>
                </a:lnTo>
                <a:lnTo>
                  <a:pt x="843" y="1057"/>
                </a:lnTo>
                <a:lnTo>
                  <a:pt x="846" y="1074"/>
                </a:lnTo>
                <a:lnTo>
                  <a:pt x="849" y="1093"/>
                </a:lnTo>
                <a:lnTo>
                  <a:pt x="609" y="1093"/>
                </a:lnTo>
                <a:lnTo>
                  <a:pt x="607" y="1083"/>
                </a:lnTo>
                <a:lnTo>
                  <a:pt x="601" y="1067"/>
                </a:lnTo>
                <a:lnTo>
                  <a:pt x="596" y="1049"/>
                </a:lnTo>
                <a:lnTo>
                  <a:pt x="587" y="1027"/>
                </a:lnTo>
                <a:lnTo>
                  <a:pt x="576" y="1000"/>
                </a:lnTo>
                <a:lnTo>
                  <a:pt x="562" y="970"/>
                </a:lnTo>
                <a:lnTo>
                  <a:pt x="545" y="938"/>
                </a:lnTo>
                <a:lnTo>
                  <a:pt x="537" y="921"/>
                </a:lnTo>
                <a:lnTo>
                  <a:pt x="527" y="904"/>
                </a:lnTo>
                <a:lnTo>
                  <a:pt x="515" y="887"/>
                </a:lnTo>
                <a:lnTo>
                  <a:pt x="504" y="869"/>
                </a:lnTo>
                <a:lnTo>
                  <a:pt x="492" y="851"/>
                </a:lnTo>
                <a:lnTo>
                  <a:pt x="479" y="835"/>
                </a:lnTo>
                <a:lnTo>
                  <a:pt x="472" y="826"/>
                </a:lnTo>
                <a:lnTo>
                  <a:pt x="465" y="818"/>
                </a:lnTo>
                <a:lnTo>
                  <a:pt x="451" y="801"/>
                </a:lnTo>
                <a:lnTo>
                  <a:pt x="435" y="786"/>
                </a:lnTo>
                <a:lnTo>
                  <a:pt x="419" y="770"/>
                </a:lnTo>
                <a:lnTo>
                  <a:pt x="403" y="755"/>
                </a:lnTo>
                <a:lnTo>
                  <a:pt x="385" y="742"/>
                </a:lnTo>
                <a:lnTo>
                  <a:pt x="375" y="735"/>
                </a:lnTo>
                <a:lnTo>
                  <a:pt x="366" y="730"/>
                </a:lnTo>
                <a:lnTo>
                  <a:pt x="347" y="718"/>
                </a:lnTo>
                <a:lnTo>
                  <a:pt x="326" y="708"/>
                </a:lnTo>
                <a:lnTo>
                  <a:pt x="316" y="703"/>
                </a:lnTo>
                <a:lnTo>
                  <a:pt x="305" y="699"/>
                </a:lnTo>
                <a:lnTo>
                  <a:pt x="294" y="694"/>
                </a:lnTo>
                <a:lnTo>
                  <a:pt x="283" y="691"/>
                </a:lnTo>
                <a:lnTo>
                  <a:pt x="260" y="685"/>
                </a:lnTo>
                <a:lnTo>
                  <a:pt x="254" y="684"/>
                </a:lnTo>
                <a:lnTo>
                  <a:pt x="254" y="1093"/>
                </a:lnTo>
                <a:lnTo>
                  <a:pt x="0" y="1093"/>
                </a:lnTo>
                <a:lnTo>
                  <a:pt x="0" y="556"/>
                </a:lnTo>
                <a:lnTo>
                  <a:pt x="0" y="20"/>
                </a:lnTo>
                <a:lnTo>
                  <a:pt x="254" y="20"/>
                </a:lnTo>
                <a:lnTo>
                  <a:pt x="254" y="405"/>
                </a:lnTo>
                <a:close/>
                <a:moveTo>
                  <a:pt x="3423" y="367"/>
                </a:moveTo>
                <a:lnTo>
                  <a:pt x="3423" y="1093"/>
                </a:lnTo>
                <a:lnTo>
                  <a:pt x="3168" y="1093"/>
                </a:lnTo>
                <a:lnTo>
                  <a:pt x="3168" y="363"/>
                </a:lnTo>
                <a:lnTo>
                  <a:pt x="3168" y="349"/>
                </a:lnTo>
                <a:lnTo>
                  <a:pt x="3166" y="336"/>
                </a:lnTo>
                <a:lnTo>
                  <a:pt x="3162" y="324"/>
                </a:lnTo>
                <a:lnTo>
                  <a:pt x="3161" y="318"/>
                </a:lnTo>
                <a:lnTo>
                  <a:pt x="3159" y="312"/>
                </a:lnTo>
                <a:lnTo>
                  <a:pt x="3153" y="301"/>
                </a:lnTo>
                <a:lnTo>
                  <a:pt x="3147" y="290"/>
                </a:lnTo>
                <a:lnTo>
                  <a:pt x="3140" y="280"/>
                </a:lnTo>
                <a:lnTo>
                  <a:pt x="3132" y="271"/>
                </a:lnTo>
                <a:lnTo>
                  <a:pt x="3123" y="263"/>
                </a:lnTo>
                <a:lnTo>
                  <a:pt x="3114" y="257"/>
                </a:lnTo>
                <a:lnTo>
                  <a:pt x="3109" y="253"/>
                </a:lnTo>
                <a:lnTo>
                  <a:pt x="3104" y="250"/>
                </a:lnTo>
                <a:lnTo>
                  <a:pt x="3093" y="245"/>
                </a:lnTo>
                <a:lnTo>
                  <a:pt x="3088" y="242"/>
                </a:lnTo>
                <a:lnTo>
                  <a:pt x="3082" y="241"/>
                </a:lnTo>
                <a:lnTo>
                  <a:pt x="3070" y="238"/>
                </a:lnTo>
                <a:lnTo>
                  <a:pt x="3058" y="236"/>
                </a:lnTo>
                <a:lnTo>
                  <a:pt x="3045" y="236"/>
                </a:lnTo>
                <a:lnTo>
                  <a:pt x="3033" y="236"/>
                </a:lnTo>
                <a:lnTo>
                  <a:pt x="3021" y="238"/>
                </a:lnTo>
                <a:lnTo>
                  <a:pt x="3008" y="241"/>
                </a:lnTo>
                <a:lnTo>
                  <a:pt x="2997" y="246"/>
                </a:lnTo>
                <a:lnTo>
                  <a:pt x="2992" y="248"/>
                </a:lnTo>
                <a:lnTo>
                  <a:pt x="2986" y="251"/>
                </a:lnTo>
                <a:lnTo>
                  <a:pt x="2976" y="258"/>
                </a:lnTo>
                <a:lnTo>
                  <a:pt x="2972" y="261"/>
                </a:lnTo>
                <a:lnTo>
                  <a:pt x="2967" y="265"/>
                </a:lnTo>
                <a:lnTo>
                  <a:pt x="2958" y="274"/>
                </a:lnTo>
                <a:lnTo>
                  <a:pt x="2950" y="282"/>
                </a:lnTo>
                <a:lnTo>
                  <a:pt x="2946" y="287"/>
                </a:lnTo>
                <a:lnTo>
                  <a:pt x="2943" y="292"/>
                </a:lnTo>
                <a:lnTo>
                  <a:pt x="2937" y="304"/>
                </a:lnTo>
                <a:lnTo>
                  <a:pt x="2931" y="315"/>
                </a:lnTo>
                <a:lnTo>
                  <a:pt x="2929" y="320"/>
                </a:lnTo>
                <a:lnTo>
                  <a:pt x="2927" y="326"/>
                </a:lnTo>
                <a:lnTo>
                  <a:pt x="2924" y="339"/>
                </a:lnTo>
                <a:lnTo>
                  <a:pt x="2923" y="351"/>
                </a:lnTo>
                <a:lnTo>
                  <a:pt x="2921" y="358"/>
                </a:lnTo>
                <a:lnTo>
                  <a:pt x="2921" y="365"/>
                </a:lnTo>
                <a:lnTo>
                  <a:pt x="2921" y="1093"/>
                </a:lnTo>
                <a:lnTo>
                  <a:pt x="2669" y="1093"/>
                </a:lnTo>
                <a:lnTo>
                  <a:pt x="2669" y="365"/>
                </a:lnTo>
                <a:lnTo>
                  <a:pt x="2669" y="351"/>
                </a:lnTo>
                <a:lnTo>
                  <a:pt x="2667" y="339"/>
                </a:lnTo>
                <a:lnTo>
                  <a:pt x="2664" y="326"/>
                </a:lnTo>
                <a:lnTo>
                  <a:pt x="2663" y="320"/>
                </a:lnTo>
                <a:lnTo>
                  <a:pt x="2660" y="315"/>
                </a:lnTo>
                <a:lnTo>
                  <a:pt x="2655" y="304"/>
                </a:lnTo>
                <a:lnTo>
                  <a:pt x="2648" y="292"/>
                </a:lnTo>
                <a:lnTo>
                  <a:pt x="2641" y="282"/>
                </a:lnTo>
                <a:lnTo>
                  <a:pt x="2637" y="278"/>
                </a:lnTo>
                <a:lnTo>
                  <a:pt x="2634" y="274"/>
                </a:lnTo>
                <a:lnTo>
                  <a:pt x="2629" y="269"/>
                </a:lnTo>
                <a:lnTo>
                  <a:pt x="2625" y="265"/>
                </a:lnTo>
                <a:lnTo>
                  <a:pt x="2615" y="258"/>
                </a:lnTo>
                <a:lnTo>
                  <a:pt x="2605" y="251"/>
                </a:lnTo>
                <a:lnTo>
                  <a:pt x="2593" y="246"/>
                </a:lnTo>
                <a:lnTo>
                  <a:pt x="2582" y="241"/>
                </a:lnTo>
                <a:lnTo>
                  <a:pt x="2577" y="239"/>
                </a:lnTo>
                <a:lnTo>
                  <a:pt x="2571" y="238"/>
                </a:lnTo>
                <a:lnTo>
                  <a:pt x="2559" y="236"/>
                </a:lnTo>
                <a:lnTo>
                  <a:pt x="2552" y="236"/>
                </a:lnTo>
                <a:lnTo>
                  <a:pt x="2546" y="236"/>
                </a:lnTo>
                <a:lnTo>
                  <a:pt x="2533" y="236"/>
                </a:lnTo>
                <a:lnTo>
                  <a:pt x="2528" y="237"/>
                </a:lnTo>
                <a:lnTo>
                  <a:pt x="2521" y="238"/>
                </a:lnTo>
                <a:lnTo>
                  <a:pt x="2510" y="241"/>
                </a:lnTo>
                <a:lnTo>
                  <a:pt x="2499" y="245"/>
                </a:lnTo>
                <a:lnTo>
                  <a:pt x="2488" y="250"/>
                </a:lnTo>
                <a:lnTo>
                  <a:pt x="2477" y="257"/>
                </a:lnTo>
                <a:lnTo>
                  <a:pt x="2467" y="263"/>
                </a:lnTo>
                <a:lnTo>
                  <a:pt x="2460" y="271"/>
                </a:lnTo>
                <a:lnTo>
                  <a:pt x="2451" y="280"/>
                </a:lnTo>
                <a:lnTo>
                  <a:pt x="2444" y="290"/>
                </a:lnTo>
                <a:lnTo>
                  <a:pt x="2438" y="301"/>
                </a:lnTo>
                <a:lnTo>
                  <a:pt x="2433" y="312"/>
                </a:lnTo>
                <a:lnTo>
                  <a:pt x="2431" y="318"/>
                </a:lnTo>
                <a:lnTo>
                  <a:pt x="2428" y="324"/>
                </a:lnTo>
                <a:lnTo>
                  <a:pt x="2425" y="336"/>
                </a:lnTo>
                <a:lnTo>
                  <a:pt x="2424" y="349"/>
                </a:lnTo>
                <a:lnTo>
                  <a:pt x="2423" y="356"/>
                </a:lnTo>
                <a:lnTo>
                  <a:pt x="2423" y="363"/>
                </a:lnTo>
                <a:lnTo>
                  <a:pt x="2423" y="1093"/>
                </a:lnTo>
                <a:lnTo>
                  <a:pt x="2168" y="1093"/>
                </a:lnTo>
                <a:lnTo>
                  <a:pt x="2168" y="367"/>
                </a:lnTo>
                <a:lnTo>
                  <a:pt x="2168" y="348"/>
                </a:lnTo>
                <a:lnTo>
                  <a:pt x="2170" y="329"/>
                </a:lnTo>
                <a:lnTo>
                  <a:pt x="2172" y="310"/>
                </a:lnTo>
                <a:lnTo>
                  <a:pt x="2175" y="292"/>
                </a:lnTo>
                <a:lnTo>
                  <a:pt x="2179" y="275"/>
                </a:lnTo>
                <a:lnTo>
                  <a:pt x="2183" y="258"/>
                </a:lnTo>
                <a:lnTo>
                  <a:pt x="2189" y="240"/>
                </a:lnTo>
                <a:lnTo>
                  <a:pt x="2194" y="223"/>
                </a:lnTo>
                <a:lnTo>
                  <a:pt x="2201" y="208"/>
                </a:lnTo>
                <a:lnTo>
                  <a:pt x="2209" y="192"/>
                </a:lnTo>
                <a:lnTo>
                  <a:pt x="2212" y="184"/>
                </a:lnTo>
                <a:lnTo>
                  <a:pt x="2216" y="177"/>
                </a:lnTo>
                <a:lnTo>
                  <a:pt x="2225" y="161"/>
                </a:lnTo>
                <a:lnTo>
                  <a:pt x="2235" y="148"/>
                </a:lnTo>
                <a:lnTo>
                  <a:pt x="2245" y="133"/>
                </a:lnTo>
                <a:lnTo>
                  <a:pt x="2258" y="120"/>
                </a:lnTo>
                <a:lnTo>
                  <a:pt x="2269" y="108"/>
                </a:lnTo>
                <a:lnTo>
                  <a:pt x="2281" y="95"/>
                </a:lnTo>
                <a:lnTo>
                  <a:pt x="2288" y="90"/>
                </a:lnTo>
                <a:lnTo>
                  <a:pt x="2295" y="83"/>
                </a:lnTo>
                <a:lnTo>
                  <a:pt x="2309" y="73"/>
                </a:lnTo>
                <a:lnTo>
                  <a:pt x="2324" y="63"/>
                </a:lnTo>
                <a:lnTo>
                  <a:pt x="2339" y="53"/>
                </a:lnTo>
                <a:lnTo>
                  <a:pt x="2355" y="44"/>
                </a:lnTo>
                <a:lnTo>
                  <a:pt x="2371" y="36"/>
                </a:lnTo>
                <a:lnTo>
                  <a:pt x="2389" y="29"/>
                </a:lnTo>
                <a:lnTo>
                  <a:pt x="2407" y="22"/>
                </a:lnTo>
                <a:lnTo>
                  <a:pt x="2425" y="16"/>
                </a:lnTo>
                <a:lnTo>
                  <a:pt x="2445" y="12"/>
                </a:lnTo>
                <a:lnTo>
                  <a:pt x="2464" y="7"/>
                </a:lnTo>
                <a:lnTo>
                  <a:pt x="2485" y="4"/>
                </a:lnTo>
                <a:lnTo>
                  <a:pt x="2506" y="2"/>
                </a:lnTo>
                <a:lnTo>
                  <a:pt x="2528" y="1"/>
                </a:lnTo>
                <a:lnTo>
                  <a:pt x="2550" y="1"/>
                </a:lnTo>
                <a:lnTo>
                  <a:pt x="2569" y="1"/>
                </a:lnTo>
                <a:lnTo>
                  <a:pt x="2588" y="2"/>
                </a:lnTo>
                <a:lnTo>
                  <a:pt x="2606" y="4"/>
                </a:lnTo>
                <a:lnTo>
                  <a:pt x="2624" y="6"/>
                </a:lnTo>
                <a:lnTo>
                  <a:pt x="2640" y="10"/>
                </a:lnTo>
                <a:lnTo>
                  <a:pt x="2657" y="13"/>
                </a:lnTo>
                <a:lnTo>
                  <a:pt x="2673" y="17"/>
                </a:lnTo>
                <a:lnTo>
                  <a:pt x="2688" y="22"/>
                </a:lnTo>
                <a:lnTo>
                  <a:pt x="2704" y="28"/>
                </a:lnTo>
                <a:lnTo>
                  <a:pt x="2718" y="34"/>
                </a:lnTo>
                <a:lnTo>
                  <a:pt x="2732" y="41"/>
                </a:lnTo>
                <a:lnTo>
                  <a:pt x="2745" y="48"/>
                </a:lnTo>
                <a:lnTo>
                  <a:pt x="2759" y="55"/>
                </a:lnTo>
                <a:lnTo>
                  <a:pt x="2771" y="64"/>
                </a:lnTo>
                <a:lnTo>
                  <a:pt x="2782" y="72"/>
                </a:lnTo>
                <a:lnTo>
                  <a:pt x="2793" y="82"/>
                </a:lnTo>
                <a:lnTo>
                  <a:pt x="2799" y="82"/>
                </a:lnTo>
                <a:lnTo>
                  <a:pt x="2810" y="72"/>
                </a:lnTo>
                <a:lnTo>
                  <a:pt x="2822" y="64"/>
                </a:lnTo>
                <a:lnTo>
                  <a:pt x="2834" y="55"/>
                </a:lnTo>
                <a:lnTo>
                  <a:pt x="2847" y="48"/>
                </a:lnTo>
                <a:lnTo>
                  <a:pt x="2860" y="41"/>
                </a:lnTo>
                <a:lnTo>
                  <a:pt x="2873" y="34"/>
                </a:lnTo>
                <a:lnTo>
                  <a:pt x="2888" y="28"/>
                </a:lnTo>
                <a:lnTo>
                  <a:pt x="2904" y="22"/>
                </a:lnTo>
                <a:lnTo>
                  <a:pt x="2918" y="17"/>
                </a:lnTo>
                <a:lnTo>
                  <a:pt x="2935" y="13"/>
                </a:lnTo>
                <a:lnTo>
                  <a:pt x="2952" y="10"/>
                </a:lnTo>
                <a:lnTo>
                  <a:pt x="2968" y="6"/>
                </a:lnTo>
                <a:lnTo>
                  <a:pt x="2986" y="4"/>
                </a:lnTo>
                <a:lnTo>
                  <a:pt x="3004" y="2"/>
                </a:lnTo>
                <a:lnTo>
                  <a:pt x="3023" y="1"/>
                </a:lnTo>
                <a:lnTo>
                  <a:pt x="3042" y="1"/>
                </a:lnTo>
                <a:lnTo>
                  <a:pt x="3064" y="1"/>
                </a:lnTo>
                <a:lnTo>
                  <a:pt x="3085" y="2"/>
                </a:lnTo>
                <a:lnTo>
                  <a:pt x="3107" y="4"/>
                </a:lnTo>
                <a:lnTo>
                  <a:pt x="3127" y="7"/>
                </a:lnTo>
                <a:lnTo>
                  <a:pt x="3147" y="12"/>
                </a:lnTo>
                <a:lnTo>
                  <a:pt x="3166" y="16"/>
                </a:lnTo>
                <a:lnTo>
                  <a:pt x="3175" y="20"/>
                </a:lnTo>
                <a:lnTo>
                  <a:pt x="3185" y="22"/>
                </a:lnTo>
                <a:lnTo>
                  <a:pt x="3203" y="29"/>
                </a:lnTo>
                <a:lnTo>
                  <a:pt x="3219" y="36"/>
                </a:lnTo>
                <a:lnTo>
                  <a:pt x="3236" y="44"/>
                </a:lnTo>
                <a:lnTo>
                  <a:pt x="3253" y="53"/>
                </a:lnTo>
                <a:lnTo>
                  <a:pt x="3267" y="63"/>
                </a:lnTo>
                <a:lnTo>
                  <a:pt x="3283" y="73"/>
                </a:lnTo>
                <a:lnTo>
                  <a:pt x="3296" y="83"/>
                </a:lnTo>
                <a:lnTo>
                  <a:pt x="3310" y="95"/>
                </a:lnTo>
                <a:lnTo>
                  <a:pt x="3322" y="108"/>
                </a:lnTo>
                <a:lnTo>
                  <a:pt x="3334" y="120"/>
                </a:lnTo>
                <a:lnTo>
                  <a:pt x="3345" y="133"/>
                </a:lnTo>
                <a:lnTo>
                  <a:pt x="3355" y="148"/>
                </a:lnTo>
                <a:lnTo>
                  <a:pt x="3365" y="161"/>
                </a:lnTo>
                <a:lnTo>
                  <a:pt x="3374" y="177"/>
                </a:lnTo>
                <a:lnTo>
                  <a:pt x="3383" y="192"/>
                </a:lnTo>
                <a:lnTo>
                  <a:pt x="3390" y="208"/>
                </a:lnTo>
                <a:lnTo>
                  <a:pt x="3397" y="223"/>
                </a:lnTo>
                <a:lnTo>
                  <a:pt x="3403" y="240"/>
                </a:lnTo>
                <a:lnTo>
                  <a:pt x="3408" y="258"/>
                </a:lnTo>
                <a:lnTo>
                  <a:pt x="3412" y="275"/>
                </a:lnTo>
                <a:lnTo>
                  <a:pt x="3417" y="292"/>
                </a:lnTo>
                <a:lnTo>
                  <a:pt x="3419" y="310"/>
                </a:lnTo>
                <a:lnTo>
                  <a:pt x="3421" y="329"/>
                </a:lnTo>
                <a:lnTo>
                  <a:pt x="3422" y="348"/>
                </a:lnTo>
                <a:lnTo>
                  <a:pt x="3423" y="367"/>
                </a:lnTo>
                <a:close/>
                <a:moveTo>
                  <a:pt x="4521" y="364"/>
                </a:moveTo>
                <a:lnTo>
                  <a:pt x="4521" y="1093"/>
                </a:lnTo>
                <a:lnTo>
                  <a:pt x="4264" y="1093"/>
                </a:lnTo>
                <a:lnTo>
                  <a:pt x="4264" y="360"/>
                </a:lnTo>
                <a:lnTo>
                  <a:pt x="4264" y="343"/>
                </a:lnTo>
                <a:lnTo>
                  <a:pt x="4266" y="324"/>
                </a:lnTo>
                <a:lnTo>
                  <a:pt x="4268" y="306"/>
                </a:lnTo>
                <a:lnTo>
                  <a:pt x="4270" y="288"/>
                </a:lnTo>
                <a:lnTo>
                  <a:pt x="4274" y="270"/>
                </a:lnTo>
                <a:lnTo>
                  <a:pt x="4279" y="253"/>
                </a:lnTo>
                <a:lnTo>
                  <a:pt x="4283" y="237"/>
                </a:lnTo>
                <a:lnTo>
                  <a:pt x="4290" y="220"/>
                </a:lnTo>
                <a:lnTo>
                  <a:pt x="4297" y="204"/>
                </a:lnTo>
                <a:lnTo>
                  <a:pt x="4300" y="196"/>
                </a:lnTo>
                <a:lnTo>
                  <a:pt x="4303" y="189"/>
                </a:lnTo>
                <a:lnTo>
                  <a:pt x="4312" y="173"/>
                </a:lnTo>
                <a:lnTo>
                  <a:pt x="4321" y="159"/>
                </a:lnTo>
                <a:lnTo>
                  <a:pt x="4330" y="144"/>
                </a:lnTo>
                <a:lnTo>
                  <a:pt x="4341" y="131"/>
                </a:lnTo>
                <a:lnTo>
                  <a:pt x="4353" y="118"/>
                </a:lnTo>
                <a:lnTo>
                  <a:pt x="4364" y="105"/>
                </a:lnTo>
                <a:lnTo>
                  <a:pt x="4377" y="93"/>
                </a:lnTo>
                <a:lnTo>
                  <a:pt x="4389" y="82"/>
                </a:lnTo>
                <a:lnTo>
                  <a:pt x="4404" y="71"/>
                </a:lnTo>
                <a:lnTo>
                  <a:pt x="4418" y="61"/>
                </a:lnTo>
                <a:lnTo>
                  <a:pt x="4434" y="52"/>
                </a:lnTo>
                <a:lnTo>
                  <a:pt x="4450" y="43"/>
                </a:lnTo>
                <a:lnTo>
                  <a:pt x="4466" y="35"/>
                </a:lnTo>
                <a:lnTo>
                  <a:pt x="4483" y="29"/>
                </a:lnTo>
                <a:lnTo>
                  <a:pt x="4502" y="22"/>
                </a:lnTo>
                <a:lnTo>
                  <a:pt x="4520" y="16"/>
                </a:lnTo>
                <a:lnTo>
                  <a:pt x="4539" y="12"/>
                </a:lnTo>
                <a:lnTo>
                  <a:pt x="4559" y="7"/>
                </a:lnTo>
                <a:lnTo>
                  <a:pt x="4579" y="4"/>
                </a:lnTo>
                <a:lnTo>
                  <a:pt x="4600" y="2"/>
                </a:lnTo>
                <a:lnTo>
                  <a:pt x="4621" y="1"/>
                </a:lnTo>
                <a:lnTo>
                  <a:pt x="4644" y="1"/>
                </a:lnTo>
                <a:lnTo>
                  <a:pt x="4667" y="1"/>
                </a:lnTo>
                <a:lnTo>
                  <a:pt x="4689" y="3"/>
                </a:lnTo>
                <a:lnTo>
                  <a:pt x="4711" y="5"/>
                </a:lnTo>
                <a:lnTo>
                  <a:pt x="4732" y="7"/>
                </a:lnTo>
                <a:lnTo>
                  <a:pt x="4752" y="12"/>
                </a:lnTo>
                <a:lnTo>
                  <a:pt x="4771" y="16"/>
                </a:lnTo>
                <a:lnTo>
                  <a:pt x="4789" y="22"/>
                </a:lnTo>
                <a:lnTo>
                  <a:pt x="4807" y="28"/>
                </a:lnTo>
                <a:lnTo>
                  <a:pt x="4823" y="34"/>
                </a:lnTo>
                <a:lnTo>
                  <a:pt x="4839" y="41"/>
                </a:lnTo>
                <a:lnTo>
                  <a:pt x="4855" y="49"/>
                </a:lnTo>
                <a:lnTo>
                  <a:pt x="4869" y="58"/>
                </a:lnTo>
                <a:lnTo>
                  <a:pt x="4882" y="66"/>
                </a:lnTo>
                <a:lnTo>
                  <a:pt x="4895" y="76"/>
                </a:lnTo>
                <a:lnTo>
                  <a:pt x="4907" y="87"/>
                </a:lnTo>
                <a:lnTo>
                  <a:pt x="4919" y="98"/>
                </a:lnTo>
                <a:lnTo>
                  <a:pt x="4930" y="109"/>
                </a:lnTo>
                <a:lnTo>
                  <a:pt x="4940" y="120"/>
                </a:lnTo>
                <a:lnTo>
                  <a:pt x="4949" y="132"/>
                </a:lnTo>
                <a:lnTo>
                  <a:pt x="4958" y="145"/>
                </a:lnTo>
                <a:lnTo>
                  <a:pt x="4967" y="158"/>
                </a:lnTo>
                <a:lnTo>
                  <a:pt x="4975" y="171"/>
                </a:lnTo>
                <a:lnTo>
                  <a:pt x="4982" y="186"/>
                </a:lnTo>
                <a:lnTo>
                  <a:pt x="4988" y="199"/>
                </a:lnTo>
                <a:lnTo>
                  <a:pt x="4994" y="213"/>
                </a:lnTo>
                <a:lnTo>
                  <a:pt x="5000" y="228"/>
                </a:lnTo>
                <a:lnTo>
                  <a:pt x="5004" y="243"/>
                </a:lnTo>
                <a:lnTo>
                  <a:pt x="5007" y="258"/>
                </a:lnTo>
                <a:lnTo>
                  <a:pt x="5012" y="274"/>
                </a:lnTo>
                <a:lnTo>
                  <a:pt x="5014" y="289"/>
                </a:lnTo>
                <a:lnTo>
                  <a:pt x="5016" y="305"/>
                </a:lnTo>
                <a:lnTo>
                  <a:pt x="5019" y="321"/>
                </a:lnTo>
                <a:lnTo>
                  <a:pt x="5020" y="336"/>
                </a:lnTo>
                <a:lnTo>
                  <a:pt x="4764" y="336"/>
                </a:lnTo>
                <a:lnTo>
                  <a:pt x="4762" y="325"/>
                </a:lnTo>
                <a:lnTo>
                  <a:pt x="4760" y="316"/>
                </a:lnTo>
                <a:lnTo>
                  <a:pt x="4756" y="307"/>
                </a:lnTo>
                <a:lnTo>
                  <a:pt x="4753" y="299"/>
                </a:lnTo>
                <a:lnTo>
                  <a:pt x="4749" y="291"/>
                </a:lnTo>
                <a:lnTo>
                  <a:pt x="4743" y="284"/>
                </a:lnTo>
                <a:lnTo>
                  <a:pt x="4737" y="276"/>
                </a:lnTo>
                <a:lnTo>
                  <a:pt x="4734" y="272"/>
                </a:lnTo>
                <a:lnTo>
                  <a:pt x="4731" y="269"/>
                </a:lnTo>
                <a:lnTo>
                  <a:pt x="4723" y="262"/>
                </a:lnTo>
                <a:lnTo>
                  <a:pt x="4715" y="257"/>
                </a:lnTo>
                <a:lnTo>
                  <a:pt x="4707" y="251"/>
                </a:lnTo>
                <a:lnTo>
                  <a:pt x="4698" y="247"/>
                </a:lnTo>
                <a:lnTo>
                  <a:pt x="4688" y="242"/>
                </a:lnTo>
                <a:lnTo>
                  <a:pt x="4678" y="240"/>
                </a:lnTo>
                <a:lnTo>
                  <a:pt x="4667" y="238"/>
                </a:lnTo>
                <a:lnTo>
                  <a:pt x="4656" y="236"/>
                </a:lnTo>
                <a:lnTo>
                  <a:pt x="4644" y="236"/>
                </a:lnTo>
                <a:lnTo>
                  <a:pt x="4629" y="236"/>
                </a:lnTo>
                <a:lnTo>
                  <a:pt x="4616" y="238"/>
                </a:lnTo>
                <a:lnTo>
                  <a:pt x="4602" y="241"/>
                </a:lnTo>
                <a:lnTo>
                  <a:pt x="4597" y="243"/>
                </a:lnTo>
                <a:lnTo>
                  <a:pt x="4590" y="246"/>
                </a:lnTo>
                <a:lnTo>
                  <a:pt x="4579" y="250"/>
                </a:lnTo>
                <a:lnTo>
                  <a:pt x="4575" y="253"/>
                </a:lnTo>
                <a:lnTo>
                  <a:pt x="4569" y="257"/>
                </a:lnTo>
                <a:lnTo>
                  <a:pt x="4565" y="260"/>
                </a:lnTo>
                <a:lnTo>
                  <a:pt x="4560" y="265"/>
                </a:lnTo>
                <a:lnTo>
                  <a:pt x="4552" y="272"/>
                </a:lnTo>
                <a:lnTo>
                  <a:pt x="4544" y="281"/>
                </a:lnTo>
                <a:lnTo>
                  <a:pt x="4539" y="291"/>
                </a:lnTo>
                <a:lnTo>
                  <a:pt x="4533" y="301"/>
                </a:lnTo>
                <a:lnTo>
                  <a:pt x="4529" y="312"/>
                </a:lnTo>
                <a:lnTo>
                  <a:pt x="4527" y="319"/>
                </a:lnTo>
                <a:lnTo>
                  <a:pt x="4525" y="325"/>
                </a:lnTo>
                <a:lnTo>
                  <a:pt x="4523" y="337"/>
                </a:lnTo>
                <a:lnTo>
                  <a:pt x="4521" y="350"/>
                </a:lnTo>
                <a:lnTo>
                  <a:pt x="4521" y="364"/>
                </a:lnTo>
                <a:close/>
                <a:moveTo>
                  <a:pt x="3716" y="20"/>
                </a:moveTo>
                <a:lnTo>
                  <a:pt x="3972" y="20"/>
                </a:lnTo>
                <a:lnTo>
                  <a:pt x="3972" y="556"/>
                </a:lnTo>
                <a:lnTo>
                  <a:pt x="3972" y="1093"/>
                </a:lnTo>
                <a:lnTo>
                  <a:pt x="3716" y="1093"/>
                </a:lnTo>
                <a:lnTo>
                  <a:pt x="3716" y="556"/>
                </a:lnTo>
                <a:lnTo>
                  <a:pt x="3716" y="2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0201" tIns="40100" rIns="80201" bIns="40100" numCol="1" anchor="t" anchorCtr="0" compatLnSpc="1">
            <a:prstTxWarp prst="textNoShape">
              <a:avLst/>
            </a:prstTxWarp>
          </a:bodyPr>
          <a:lstStyle/>
          <a:p>
            <a:endParaRPr lang="en-US" sz="1579"/>
          </a:p>
        </p:txBody>
      </p:sp>
      <p:sp>
        <p:nvSpPr>
          <p:cNvPr id="19" name="Freeform 11">
            <a:hlinkClick r:id="rId2"/>
          </p:cNvPr>
          <p:cNvSpPr>
            <a:spLocks noChangeAspect="1" noEditPoints="1"/>
          </p:cNvSpPr>
          <p:nvPr/>
        </p:nvSpPr>
        <p:spPr bwMode="auto">
          <a:xfrm>
            <a:off x="4454834" y="4813740"/>
            <a:ext cx="1783733" cy="158800"/>
          </a:xfrm>
          <a:custGeom>
            <a:avLst/>
            <a:gdLst>
              <a:gd name="T0" fmla="*/ 6642 w 7005"/>
              <a:gd name="T1" fmla="*/ 8 h 496"/>
              <a:gd name="T2" fmla="*/ 97 w 7005"/>
              <a:gd name="T3" fmla="*/ 487 h 496"/>
              <a:gd name="T4" fmla="*/ 1129 w 7005"/>
              <a:gd name="T5" fmla="*/ 487 h 496"/>
              <a:gd name="T6" fmla="*/ 1076 w 7005"/>
              <a:gd name="T7" fmla="*/ 341 h 496"/>
              <a:gd name="T8" fmla="*/ 1398 w 7005"/>
              <a:gd name="T9" fmla="*/ 8 h 496"/>
              <a:gd name="T10" fmla="*/ 2112 w 7005"/>
              <a:gd name="T11" fmla="*/ 382 h 496"/>
              <a:gd name="T12" fmla="*/ 2371 w 7005"/>
              <a:gd name="T13" fmla="*/ 229 h 496"/>
              <a:gd name="T14" fmla="*/ 2897 w 7005"/>
              <a:gd name="T15" fmla="*/ 87 h 496"/>
              <a:gd name="T16" fmla="*/ 3699 w 7005"/>
              <a:gd name="T17" fmla="*/ 146 h 496"/>
              <a:gd name="T18" fmla="*/ 3784 w 7005"/>
              <a:gd name="T19" fmla="*/ 8 h 496"/>
              <a:gd name="T20" fmla="*/ 4319 w 7005"/>
              <a:gd name="T21" fmla="*/ 306 h 496"/>
              <a:gd name="T22" fmla="*/ 4505 w 7005"/>
              <a:gd name="T23" fmla="*/ 19 h 496"/>
              <a:gd name="T24" fmla="*/ 4579 w 7005"/>
              <a:gd name="T25" fmla="*/ 80 h 496"/>
              <a:gd name="T26" fmla="*/ 4599 w 7005"/>
              <a:gd name="T27" fmla="*/ 157 h 496"/>
              <a:gd name="T28" fmla="*/ 4562 w 7005"/>
              <a:gd name="T29" fmla="*/ 257 h 496"/>
              <a:gd name="T30" fmla="*/ 4511 w 7005"/>
              <a:gd name="T31" fmla="*/ 142 h 496"/>
              <a:gd name="T32" fmla="*/ 4465 w 7005"/>
              <a:gd name="T33" fmla="*/ 90 h 496"/>
              <a:gd name="T34" fmla="*/ 4452 w 7005"/>
              <a:gd name="T35" fmla="*/ 227 h 496"/>
              <a:gd name="T36" fmla="*/ 4504 w 7005"/>
              <a:gd name="T37" fmla="*/ 193 h 496"/>
              <a:gd name="T38" fmla="*/ 4806 w 7005"/>
              <a:gd name="T39" fmla="*/ 395 h 496"/>
              <a:gd name="T40" fmla="*/ 5337 w 7005"/>
              <a:gd name="T41" fmla="*/ 487 h 496"/>
              <a:gd name="T42" fmla="*/ 5844 w 7005"/>
              <a:gd name="T43" fmla="*/ 393 h 496"/>
              <a:gd name="T44" fmla="*/ 5767 w 7005"/>
              <a:gd name="T45" fmla="*/ 474 h 496"/>
              <a:gd name="T46" fmla="*/ 5675 w 7005"/>
              <a:gd name="T47" fmla="*/ 496 h 496"/>
              <a:gd name="T48" fmla="*/ 5576 w 7005"/>
              <a:gd name="T49" fmla="*/ 471 h 496"/>
              <a:gd name="T50" fmla="*/ 5504 w 7005"/>
              <a:gd name="T51" fmla="*/ 394 h 496"/>
              <a:gd name="T52" fmla="*/ 5480 w 7005"/>
              <a:gd name="T53" fmla="*/ 265 h 496"/>
              <a:gd name="T54" fmla="*/ 5495 w 7005"/>
              <a:gd name="T55" fmla="*/ 124 h 496"/>
              <a:gd name="T56" fmla="*/ 5561 w 7005"/>
              <a:gd name="T57" fmla="*/ 35 h 496"/>
              <a:gd name="T58" fmla="*/ 5646 w 7005"/>
              <a:gd name="T59" fmla="*/ 2 h 496"/>
              <a:gd name="T60" fmla="*/ 5751 w 7005"/>
              <a:gd name="T61" fmla="*/ 14 h 496"/>
              <a:gd name="T62" fmla="*/ 5826 w 7005"/>
              <a:gd name="T63" fmla="*/ 71 h 496"/>
              <a:gd name="T64" fmla="*/ 5769 w 7005"/>
              <a:gd name="T65" fmla="*/ 159 h 496"/>
              <a:gd name="T66" fmla="*/ 5738 w 7005"/>
              <a:gd name="T67" fmla="*/ 98 h 496"/>
              <a:gd name="T68" fmla="*/ 5659 w 7005"/>
              <a:gd name="T69" fmla="*/ 80 h 496"/>
              <a:gd name="T70" fmla="*/ 5585 w 7005"/>
              <a:gd name="T71" fmla="*/ 135 h 496"/>
              <a:gd name="T72" fmla="*/ 5569 w 7005"/>
              <a:gd name="T73" fmla="*/ 276 h 496"/>
              <a:gd name="T74" fmla="*/ 5598 w 7005"/>
              <a:gd name="T75" fmla="*/ 382 h 496"/>
              <a:gd name="T76" fmla="*/ 5665 w 7005"/>
              <a:gd name="T77" fmla="*/ 417 h 496"/>
              <a:gd name="T78" fmla="*/ 5741 w 7005"/>
              <a:gd name="T79" fmla="*/ 395 h 496"/>
              <a:gd name="T80" fmla="*/ 6372 w 7005"/>
              <a:gd name="T81" fmla="*/ 248 h 496"/>
              <a:gd name="T82" fmla="*/ 6352 w 7005"/>
              <a:gd name="T83" fmla="*/ 383 h 496"/>
              <a:gd name="T84" fmla="*/ 6281 w 7005"/>
              <a:gd name="T85" fmla="*/ 466 h 496"/>
              <a:gd name="T86" fmla="*/ 6193 w 7005"/>
              <a:gd name="T87" fmla="*/ 495 h 496"/>
              <a:gd name="T88" fmla="*/ 6079 w 7005"/>
              <a:gd name="T89" fmla="*/ 475 h 496"/>
              <a:gd name="T90" fmla="*/ 5999 w 7005"/>
              <a:gd name="T91" fmla="*/ 393 h 496"/>
              <a:gd name="T92" fmla="*/ 5974 w 7005"/>
              <a:gd name="T93" fmla="*/ 248 h 496"/>
              <a:gd name="T94" fmla="*/ 5994 w 7005"/>
              <a:gd name="T95" fmla="*/ 113 h 496"/>
              <a:gd name="T96" fmla="*/ 6063 w 7005"/>
              <a:gd name="T97" fmla="*/ 30 h 496"/>
              <a:gd name="T98" fmla="*/ 6152 w 7005"/>
              <a:gd name="T99" fmla="*/ 1 h 496"/>
              <a:gd name="T100" fmla="*/ 6265 w 7005"/>
              <a:gd name="T101" fmla="*/ 21 h 496"/>
              <a:gd name="T102" fmla="*/ 6347 w 7005"/>
              <a:gd name="T103" fmla="*/ 102 h 496"/>
              <a:gd name="T104" fmla="*/ 6372 w 7005"/>
              <a:gd name="T105" fmla="*/ 248 h 496"/>
              <a:gd name="T106" fmla="*/ 6269 w 7005"/>
              <a:gd name="T107" fmla="*/ 147 h 496"/>
              <a:gd name="T108" fmla="*/ 6223 w 7005"/>
              <a:gd name="T109" fmla="*/ 91 h 496"/>
              <a:gd name="T110" fmla="*/ 6150 w 7005"/>
              <a:gd name="T111" fmla="*/ 81 h 496"/>
              <a:gd name="T112" fmla="*/ 6088 w 7005"/>
              <a:gd name="T113" fmla="*/ 120 h 496"/>
              <a:gd name="T114" fmla="*/ 6063 w 7005"/>
              <a:gd name="T115" fmla="*/ 224 h 496"/>
              <a:gd name="T116" fmla="*/ 6083 w 7005"/>
              <a:gd name="T117" fmla="*/ 367 h 496"/>
              <a:gd name="T118" fmla="*/ 6140 w 7005"/>
              <a:gd name="T119" fmla="*/ 413 h 496"/>
              <a:gd name="T120" fmla="*/ 6219 w 7005"/>
              <a:gd name="T121" fmla="*/ 407 h 496"/>
              <a:gd name="T122" fmla="*/ 6267 w 7005"/>
              <a:gd name="T123" fmla="*/ 355 h 4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005" h="496">
                <a:moveTo>
                  <a:pt x="7005" y="487"/>
                </a:moveTo>
                <a:lnTo>
                  <a:pt x="6921" y="487"/>
                </a:lnTo>
                <a:lnTo>
                  <a:pt x="6921" y="146"/>
                </a:lnTo>
                <a:lnTo>
                  <a:pt x="6797" y="481"/>
                </a:lnTo>
                <a:lnTo>
                  <a:pt x="6733" y="481"/>
                </a:lnTo>
                <a:lnTo>
                  <a:pt x="6609" y="142"/>
                </a:lnTo>
                <a:lnTo>
                  <a:pt x="6609" y="487"/>
                </a:lnTo>
                <a:lnTo>
                  <a:pt x="6525" y="487"/>
                </a:lnTo>
                <a:lnTo>
                  <a:pt x="6525" y="8"/>
                </a:lnTo>
                <a:lnTo>
                  <a:pt x="6642" y="8"/>
                </a:lnTo>
                <a:lnTo>
                  <a:pt x="6768" y="350"/>
                </a:lnTo>
                <a:lnTo>
                  <a:pt x="6894" y="8"/>
                </a:lnTo>
                <a:lnTo>
                  <a:pt x="7005" y="8"/>
                </a:lnTo>
                <a:lnTo>
                  <a:pt x="7005" y="487"/>
                </a:lnTo>
                <a:close/>
                <a:moveTo>
                  <a:pt x="566" y="8"/>
                </a:moveTo>
                <a:lnTo>
                  <a:pt x="471" y="487"/>
                </a:lnTo>
                <a:lnTo>
                  <a:pt x="384" y="487"/>
                </a:lnTo>
                <a:lnTo>
                  <a:pt x="284" y="157"/>
                </a:lnTo>
                <a:lnTo>
                  <a:pt x="184" y="487"/>
                </a:lnTo>
                <a:lnTo>
                  <a:pt x="97" y="487"/>
                </a:lnTo>
                <a:lnTo>
                  <a:pt x="0" y="8"/>
                </a:lnTo>
                <a:lnTo>
                  <a:pt x="83" y="8"/>
                </a:lnTo>
                <a:lnTo>
                  <a:pt x="150" y="341"/>
                </a:lnTo>
                <a:lnTo>
                  <a:pt x="249" y="16"/>
                </a:lnTo>
                <a:lnTo>
                  <a:pt x="322" y="16"/>
                </a:lnTo>
                <a:lnTo>
                  <a:pt x="418" y="341"/>
                </a:lnTo>
                <a:lnTo>
                  <a:pt x="486" y="8"/>
                </a:lnTo>
                <a:lnTo>
                  <a:pt x="566" y="8"/>
                </a:lnTo>
                <a:close/>
                <a:moveTo>
                  <a:pt x="1224" y="8"/>
                </a:moveTo>
                <a:lnTo>
                  <a:pt x="1129" y="487"/>
                </a:lnTo>
                <a:lnTo>
                  <a:pt x="1042" y="487"/>
                </a:lnTo>
                <a:lnTo>
                  <a:pt x="942" y="157"/>
                </a:lnTo>
                <a:lnTo>
                  <a:pt x="842" y="487"/>
                </a:lnTo>
                <a:lnTo>
                  <a:pt x="755" y="487"/>
                </a:lnTo>
                <a:lnTo>
                  <a:pt x="657" y="8"/>
                </a:lnTo>
                <a:lnTo>
                  <a:pt x="741" y="8"/>
                </a:lnTo>
                <a:lnTo>
                  <a:pt x="808" y="341"/>
                </a:lnTo>
                <a:lnTo>
                  <a:pt x="907" y="16"/>
                </a:lnTo>
                <a:lnTo>
                  <a:pt x="980" y="16"/>
                </a:lnTo>
                <a:lnTo>
                  <a:pt x="1076" y="341"/>
                </a:lnTo>
                <a:lnTo>
                  <a:pt x="1144" y="8"/>
                </a:lnTo>
                <a:lnTo>
                  <a:pt x="1224" y="8"/>
                </a:lnTo>
                <a:close/>
                <a:moveTo>
                  <a:pt x="1881" y="8"/>
                </a:moveTo>
                <a:lnTo>
                  <a:pt x="1786" y="487"/>
                </a:lnTo>
                <a:lnTo>
                  <a:pt x="1699" y="487"/>
                </a:lnTo>
                <a:lnTo>
                  <a:pt x="1599" y="157"/>
                </a:lnTo>
                <a:lnTo>
                  <a:pt x="1499" y="487"/>
                </a:lnTo>
                <a:lnTo>
                  <a:pt x="1412" y="487"/>
                </a:lnTo>
                <a:lnTo>
                  <a:pt x="1315" y="8"/>
                </a:lnTo>
                <a:lnTo>
                  <a:pt x="1398" y="8"/>
                </a:lnTo>
                <a:lnTo>
                  <a:pt x="1465" y="341"/>
                </a:lnTo>
                <a:lnTo>
                  <a:pt x="1564" y="16"/>
                </a:lnTo>
                <a:lnTo>
                  <a:pt x="1637" y="16"/>
                </a:lnTo>
                <a:lnTo>
                  <a:pt x="1733" y="341"/>
                </a:lnTo>
                <a:lnTo>
                  <a:pt x="1802" y="8"/>
                </a:lnTo>
                <a:lnTo>
                  <a:pt x="1881" y="8"/>
                </a:lnTo>
                <a:close/>
                <a:moveTo>
                  <a:pt x="2112" y="487"/>
                </a:moveTo>
                <a:lnTo>
                  <a:pt x="2008" y="487"/>
                </a:lnTo>
                <a:lnTo>
                  <a:pt x="2008" y="382"/>
                </a:lnTo>
                <a:lnTo>
                  <a:pt x="2112" y="382"/>
                </a:lnTo>
                <a:lnTo>
                  <a:pt x="2112" y="487"/>
                </a:lnTo>
                <a:close/>
                <a:moveTo>
                  <a:pt x="2686" y="487"/>
                </a:moveTo>
                <a:lnTo>
                  <a:pt x="2583" y="487"/>
                </a:lnTo>
                <a:lnTo>
                  <a:pt x="2454" y="261"/>
                </a:lnTo>
                <a:lnTo>
                  <a:pt x="2371" y="358"/>
                </a:lnTo>
                <a:lnTo>
                  <a:pt x="2371" y="487"/>
                </a:lnTo>
                <a:lnTo>
                  <a:pt x="2284" y="487"/>
                </a:lnTo>
                <a:lnTo>
                  <a:pt x="2284" y="8"/>
                </a:lnTo>
                <a:lnTo>
                  <a:pt x="2371" y="8"/>
                </a:lnTo>
                <a:lnTo>
                  <a:pt x="2371" y="229"/>
                </a:lnTo>
                <a:lnTo>
                  <a:pt x="2562" y="8"/>
                </a:lnTo>
                <a:lnTo>
                  <a:pt x="2668" y="8"/>
                </a:lnTo>
                <a:lnTo>
                  <a:pt x="2514" y="189"/>
                </a:lnTo>
                <a:lnTo>
                  <a:pt x="2686" y="487"/>
                </a:lnTo>
                <a:close/>
                <a:moveTo>
                  <a:pt x="3151" y="487"/>
                </a:moveTo>
                <a:lnTo>
                  <a:pt x="2810" y="487"/>
                </a:lnTo>
                <a:lnTo>
                  <a:pt x="2810" y="8"/>
                </a:lnTo>
                <a:lnTo>
                  <a:pt x="3151" y="8"/>
                </a:lnTo>
                <a:lnTo>
                  <a:pt x="3151" y="87"/>
                </a:lnTo>
                <a:lnTo>
                  <a:pt x="2897" y="87"/>
                </a:lnTo>
                <a:lnTo>
                  <a:pt x="2897" y="199"/>
                </a:lnTo>
                <a:lnTo>
                  <a:pt x="3120" y="199"/>
                </a:lnTo>
                <a:lnTo>
                  <a:pt x="3120" y="277"/>
                </a:lnTo>
                <a:lnTo>
                  <a:pt x="2897" y="277"/>
                </a:lnTo>
                <a:lnTo>
                  <a:pt x="2897" y="408"/>
                </a:lnTo>
                <a:lnTo>
                  <a:pt x="3151" y="408"/>
                </a:lnTo>
                <a:lnTo>
                  <a:pt x="3151" y="487"/>
                </a:lnTo>
                <a:close/>
                <a:moveTo>
                  <a:pt x="3784" y="487"/>
                </a:moveTo>
                <a:lnTo>
                  <a:pt x="3699" y="487"/>
                </a:lnTo>
                <a:lnTo>
                  <a:pt x="3699" y="146"/>
                </a:lnTo>
                <a:lnTo>
                  <a:pt x="3575" y="481"/>
                </a:lnTo>
                <a:lnTo>
                  <a:pt x="3511" y="481"/>
                </a:lnTo>
                <a:lnTo>
                  <a:pt x="3386" y="142"/>
                </a:lnTo>
                <a:lnTo>
                  <a:pt x="3386" y="487"/>
                </a:lnTo>
                <a:lnTo>
                  <a:pt x="3302" y="487"/>
                </a:lnTo>
                <a:lnTo>
                  <a:pt x="3302" y="8"/>
                </a:lnTo>
                <a:lnTo>
                  <a:pt x="3419" y="8"/>
                </a:lnTo>
                <a:lnTo>
                  <a:pt x="3546" y="350"/>
                </a:lnTo>
                <a:lnTo>
                  <a:pt x="3672" y="8"/>
                </a:lnTo>
                <a:lnTo>
                  <a:pt x="3784" y="8"/>
                </a:lnTo>
                <a:lnTo>
                  <a:pt x="3784" y="487"/>
                </a:lnTo>
                <a:close/>
                <a:moveTo>
                  <a:pt x="4052" y="487"/>
                </a:moveTo>
                <a:lnTo>
                  <a:pt x="3963" y="487"/>
                </a:lnTo>
                <a:lnTo>
                  <a:pt x="3963" y="8"/>
                </a:lnTo>
                <a:lnTo>
                  <a:pt x="4052" y="8"/>
                </a:lnTo>
                <a:lnTo>
                  <a:pt x="4052" y="487"/>
                </a:lnTo>
                <a:close/>
                <a:moveTo>
                  <a:pt x="4599" y="487"/>
                </a:moveTo>
                <a:lnTo>
                  <a:pt x="4505" y="487"/>
                </a:lnTo>
                <a:lnTo>
                  <a:pt x="4425" y="306"/>
                </a:lnTo>
                <a:lnTo>
                  <a:pt x="4319" y="306"/>
                </a:lnTo>
                <a:lnTo>
                  <a:pt x="4319" y="487"/>
                </a:lnTo>
                <a:lnTo>
                  <a:pt x="4231" y="487"/>
                </a:lnTo>
                <a:lnTo>
                  <a:pt x="4231" y="8"/>
                </a:lnTo>
                <a:lnTo>
                  <a:pt x="4433" y="8"/>
                </a:lnTo>
                <a:lnTo>
                  <a:pt x="4453" y="9"/>
                </a:lnTo>
                <a:lnTo>
                  <a:pt x="4462" y="10"/>
                </a:lnTo>
                <a:lnTo>
                  <a:pt x="4471" y="11"/>
                </a:lnTo>
                <a:lnTo>
                  <a:pt x="4488" y="15"/>
                </a:lnTo>
                <a:lnTo>
                  <a:pt x="4497" y="17"/>
                </a:lnTo>
                <a:lnTo>
                  <a:pt x="4505" y="19"/>
                </a:lnTo>
                <a:lnTo>
                  <a:pt x="4512" y="22"/>
                </a:lnTo>
                <a:lnTo>
                  <a:pt x="4519" y="25"/>
                </a:lnTo>
                <a:lnTo>
                  <a:pt x="4533" y="33"/>
                </a:lnTo>
                <a:lnTo>
                  <a:pt x="4539" y="37"/>
                </a:lnTo>
                <a:lnTo>
                  <a:pt x="4545" y="41"/>
                </a:lnTo>
                <a:lnTo>
                  <a:pt x="4551" y="46"/>
                </a:lnTo>
                <a:lnTo>
                  <a:pt x="4557" y="51"/>
                </a:lnTo>
                <a:lnTo>
                  <a:pt x="4567" y="62"/>
                </a:lnTo>
                <a:lnTo>
                  <a:pt x="4575" y="74"/>
                </a:lnTo>
                <a:lnTo>
                  <a:pt x="4579" y="80"/>
                </a:lnTo>
                <a:lnTo>
                  <a:pt x="4583" y="86"/>
                </a:lnTo>
                <a:lnTo>
                  <a:pt x="4586" y="93"/>
                </a:lnTo>
                <a:lnTo>
                  <a:pt x="4589" y="99"/>
                </a:lnTo>
                <a:lnTo>
                  <a:pt x="4593" y="113"/>
                </a:lnTo>
                <a:lnTo>
                  <a:pt x="4595" y="120"/>
                </a:lnTo>
                <a:lnTo>
                  <a:pt x="4597" y="127"/>
                </a:lnTo>
                <a:lnTo>
                  <a:pt x="4598" y="134"/>
                </a:lnTo>
                <a:lnTo>
                  <a:pt x="4599" y="142"/>
                </a:lnTo>
                <a:lnTo>
                  <a:pt x="4599" y="149"/>
                </a:lnTo>
                <a:lnTo>
                  <a:pt x="4599" y="157"/>
                </a:lnTo>
                <a:lnTo>
                  <a:pt x="4599" y="169"/>
                </a:lnTo>
                <a:lnTo>
                  <a:pt x="4598" y="180"/>
                </a:lnTo>
                <a:lnTo>
                  <a:pt x="4596" y="191"/>
                </a:lnTo>
                <a:lnTo>
                  <a:pt x="4593" y="202"/>
                </a:lnTo>
                <a:lnTo>
                  <a:pt x="4590" y="212"/>
                </a:lnTo>
                <a:lnTo>
                  <a:pt x="4586" y="222"/>
                </a:lnTo>
                <a:lnTo>
                  <a:pt x="4581" y="231"/>
                </a:lnTo>
                <a:lnTo>
                  <a:pt x="4575" y="240"/>
                </a:lnTo>
                <a:lnTo>
                  <a:pt x="4569" y="249"/>
                </a:lnTo>
                <a:lnTo>
                  <a:pt x="4562" y="257"/>
                </a:lnTo>
                <a:lnTo>
                  <a:pt x="4555" y="265"/>
                </a:lnTo>
                <a:lnTo>
                  <a:pt x="4547" y="271"/>
                </a:lnTo>
                <a:lnTo>
                  <a:pt x="4539" y="277"/>
                </a:lnTo>
                <a:lnTo>
                  <a:pt x="4530" y="283"/>
                </a:lnTo>
                <a:lnTo>
                  <a:pt x="4521" y="287"/>
                </a:lnTo>
                <a:lnTo>
                  <a:pt x="4511" y="291"/>
                </a:lnTo>
                <a:lnTo>
                  <a:pt x="4599" y="487"/>
                </a:lnTo>
                <a:close/>
                <a:moveTo>
                  <a:pt x="4512" y="157"/>
                </a:moveTo>
                <a:lnTo>
                  <a:pt x="4512" y="150"/>
                </a:lnTo>
                <a:lnTo>
                  <a:pt x="4511" y="142"/>
                </a:lnTo>
                <a:lnTo>
                  <a:pt x="4509" y="136"/>
                </a:lnTo>
                <a:lnTo>
                  <a:pt x="4507" y="129"/>
                </a:lnTo>
                <a:lnTo>
                  <a:pt x="4504" y="123"/>
                </a:lnTo>
                <a:lnTo>
                  <a:pt x="4500" y="117"/>
                </a:lnTo>
                <a:lnTo>
                  <a:pt x="4496" y="111"/>
                </a:lnTo>
                <a:lnTo>
                  <a:pt x="4490" y="106"/>
                </a:lnTo>
                <a:lnTo>
                  <a:pt x="4485" y="101"/>
                </a:lnTo>
                <a:lnTo>
                  <a:pt x="4479" y="97"/>
                </a:lnTo>
                <a:lnTo>
                  <a:pt x="4472" y="93"/>
                </a:lnTo>
                <a:lnTo>
                  <a:pt x="4465" y="90"/>
                </a:lnTo>
                <a:lnTo>
                  <a:pt x="4462" y="89"/>
                </a:lnTo>
                <a:lnTo>
                  <a:pt x="4458" y="88"/>
                </a:lnTo>
                <a:lnTo>
                  <a:pt x="4450" y="86"/>
                </a:lnTo>
                <a:lnTo>
                  <a:pt x="4442" y="85"/>
                </a:lnTo>
                <a:lnTo>
                  <a:pt x="4433" y="85"/>
                </a:lnTo>
                <a:lnTo>
                  <a:pt x="4318" y="85"/>
                </a:lnTo>
                <a:lnTo>
                  <a:pt x="4318" y="228"/>
                </a:lnTo>
                <a:lnTo>
                  <a:pt x="4434" y="228"/>
                </a:lnTo>
                <a:lnTo>
                  <a:pt x="4443" y="228"/>
                </a:lnTo>
                <a:lnTo>
                  <a:pt x="4452" y="227"/>
                </a:lnTo>
                <a:lnTo>
                  <a:pt x="4456" y="226"/>
                </a:lnTo>
                <a:lnTo>
                  <a:pt x="4460" y="225"/>
                </a:lnTo>
                <a:lnTo>
                  <a:pt x="4467" y="223"/>
                </a:lnTo>
                <a:lnTo>
                  <a:pt x="4474" y="221"/>
                </a:lnTo>
                <a:lnTo>
                  <a:pt x="4481" y="218"/>
                </a:lnTo>
                <a:lnTo>
                  <a:pt x="4487" y="214"/>
                </a:lnTo>
                <a:lnTo>
                  <a:pt x="4492" y="209"/>
                </a:lnTo>
                <a:lnTo>
                  <a:pt x="4497" y="205"/>
                </a:lnTo>
                <a:lnTo>
                  <a:pt x="4501" y="199"/>
                </a:lnTo>
                <a:lnTo>
                  <a:pt x="4504" y="193"/>
                </a:lnTo>
                <a:lnTo>
                  <a:pt x="4507" y="187"/>
                </a:lnTo>
                <a:lnTo>
                  <a:pt x="4509" y="180"/>
                </a:lnTo>
                <a:lnTo>
                  <a:pt x="4510" y="177"/>
                </a:lnTo>
                <a:lnTo>
                  <a:pt x="4511" y="173"/>
                </a:lnTo>
                <a:lnTo>
                  <a:pt x="4512" y="165"/>
                </a:lnTo>
                <a:lnTo>
                  <a:pt x="4512" y="157"/>
                </a:lnTo>
                <a:close/>
                <a:moveTo>
                  <a:pt x="5120" y="487"/>
                </a:moveTo>
                <a:lnTo>
                  <a:pt x="5029" y="487"/>
                </a:lnTo>
                <a:lnTo>
                  <a:pt x="4998" y="395"/>
                </a:lnTo>
                <a:lnTo>
                  <a:pt x="4806" y="395"/>
                </a:lnTo>
                <a:lnTo>
                  <a:pt x="4775" y="487"/>
                </a:lnTo>
                <a:lnTo>
                  <a:pt x="4687" y="487"/>
                </a:lnTo>
                <a:lnTo>
                  <a:pt x="4855" y="8"/>
                </a:lnTo>
                <a:lnTo>
                  <a:pt x="4952" y="8"/>
                </a:lnTo>
                <a:lnTo>
                  <a:pt x="5120" y="487"/>
                </a:lnTo>
                <a:close/>
                <a:moveTo>
                  <a:pt x="4971" y="317"/>
                </a:moveTo>
                <a:lnTo>
                  <a:pt x="4901" y="115"/>
                </a:lnTo>
                <a:lnTo>
                  <a:pt x="4833" y="317"/>
                </a:lnTo>
                <a:lnTo>
                  <a:pt x="4971" y="317"/>
                </a:lnTo>
                <a:close/>
                <a:moveTo>
                  <a:pt x="5337" y="487"/>
                </a:moveTo>
                <a:lnTo>
                  <a:pt x="5234" y="487"/>
                </a:lnTo>
                <a:lnTo>
                  <a:pt x="5234" y="382"/>
                </a:lnTo>
                <a:lnTo>
                  <a:pt x="5337" y="382"/>
                </a:lnTo>
                <a:lnTo>
                  <a:pt x="5337" y="487"/>
                </a:lnTo>
                <a:close/>
                <a:moveTo>
                  <a:pt x="5859" y="335"/>
                </a:moveTo>
                <a:lnTo>
                  <a:pt x="5858" y="343"/>
                </a:lnTo>
                <a:lnTo>
                  <a:pt x="5856" y="351"/>
                </a:lnTo>
                <a:lnTo>
                  <a:pt x="5853" y="366"/>
                </a:lnTo>
                <a:lnTo>
                  <a:pt x="5849" y="380"/>
                </a:lnTo>
                <a:lnTo>
                  <a:pt x="5844" y="393"/>
                </a:lnTo>
                <a:lnTo>
                  <a:pt x="5837" y="406"/>
                </a:lnTo>
                <a:lnTo>
                  <a:pt x="5830" y="418"/>
                </a:lnTo>
                <a:lnTo>
                  <a:pt x="5822" y="429"/>
                </a:lnTo>
                <a:lnTo>
                  <a:pt x="5813" y="439"/>
                </a:lnTo>
                <a:lnTo>
                  <a:pt x="5806" y="446"/>
                </a:lnTo>
                <a:lnTo>
                  <a:pt x="5798" y="453"/>
                </a:lnTo>
                <a:lnTo>
                  <a:pt x="5791" y="459"/>
                </a:lnTo>
                <a:lnTo>
                  <a:pt x="5783" y="464"/>
                </a:lnTo>
                <a:lnTo>
                  <a:pt x="5775" y="469"/>
                </a:lnTo>
                <a:lnTo>
                  <a:pt x="5767" y="474"/>
                </a:lnTo>
                <a:lnTo>
                  <a:pt x="5759" y="478"/>
                </a:lnTo>
                <a:lnTo>
                  <a:pt x="5751" y="482"/>
                </a:lnTo>
                <a:lnTo>
                  <a:pt x="5742" y="485"/>
                </a:lnTo>
                <a:lnTo>
                  <a:pt x="5733" y="488"/>
                </a:lnTo>
                <a:lnTo>
                  <a:pt x="5724" y="491"/>
                </a:lnTo>
                <a:lnTo>
                  <a:pt x="5715" y="493"/>
                </a:lnTo>
                <a:lnTo>
                  <a:pt x="5705" y="494"/>
                </a:lnTo>
                <a:lnTo>
                  <a:pt x="5695" y="495"/>
                </a:lnTo>
                <a:lnTo>
                  <a:pt x="5686" y="496"/>
                </a:lnTo>
                <a:lnTo>
                  <a:pt x="5675" y="496"/>
                </a:lnTo>
                <a:lnTo>
                  <a:pt x="5655" y="495"/>
                </a:lnTo>
                <a:lnTo>
                  <a:pt x="5646" y="494"/>
                </a:lnTo>
                <a:lnTo>
                  <a:pt x="5636" y="493"/>
                </a:lnTo>
                <a:lnTo>
                  <a:pt x="5627" y="491"/>
                </a:lnTo>
                <a:lnTo>
                  <a:pt x="5618" y="489"/>
                </a:lnTo>
                <a:lnTo>
                  <a:pt x="5609" y="486"/>
                </a:lnTo>
                <a:lnTo>
                  <a:pt x="5600" y="483"/>
                </a:lnTo>
                <a:lnTo>
                  <a:pt x="5592" y="479"/>
                </a:lnTo>
                <a:lnTo>
                  <a:pt x="5584" y="475"/>
                </a:lnTo>
                <a:lnTo>
                  <a:pt x="5576" y="471"/>
                </a:lnTo>
                <a:lnTo>
                  <a:pt x="5568" y="466"/>
                </a:lnTo>
                <a:lnTo>
                  <a:pt x="5561" y="461"/>
                </a:lnTo>
                <a:lnTo>
                  <a:pt x="5553" y="455"/>
                </a:lnTo>
                <a:lnTo>
                  <a:pt x="5546" y="449"/>
                </a:lnTo>
                <a:lnTo>
                  <a:pt x="5540" y="443"/>
                </a:lnTo>
                <a:lnTo>
                  <a:pt x="5531" y="434"/>
                </a:lnTo>
                <a:lnTo>
                  <a:pt x="5523" y="424"/>
                </a:lnTo>
                <a:lnTo>
                  <a:pt x="5516" y="415"/>
                </a:lnTo>
                <a:lnTo>
                  <a:pt x="5510" y="405"/>
                </a:lnTo>
                <a:lnTo>
                  <a:pt x="5504" y="394"/>
                </a:lnTo>
                <a:lnTo>
                  <a:pt x="5499" y="384"/>
                </a:lnTo>
                <a:lnTo>
                  <a:pt x="5495" y="373"/>
                </a:lnTo>
                <a:lnTo>
                  <a:pt x="5492" y="361"/>
                </a:lnTo>
                <a:lnTo>
                  <a:pt x="5489" y="350"/>
                </a:lnTo>
                <a:lnTo>
                  <a:pt x="5487" y="337"/>
                </a:lnTo>
                <a:lnTo>
                  <a:pt x="5485" y="324"/>
                </a:lnTo>
                <a:lnTo>
                  <a:pt x="5483" y="310"/>
                </a:lnTo>
                <a:lnTo>
                  <a:pt x="5482" y="296"/>
                </a:lnTo>
                <a:lnTo>
                  <a:pt x="5481" y="281"/>
                </a:lnTo>
                <a:lnTo>
                  <a:pt x="5480" y="265"/>
                </a:lnTo>
                <a:lnTo>
                  <a:pt x="5480" y="248"/>
                </a:lnTo>
                <a:lnTo>
                  <a:pt x="5480" y="232"/>
                </a:lnTo>
                <a:lnTo>
                  <a:pt x="5481" y="216"/>
                </a:lnTo>
                <a:lnTo>
                  <a:pt x="5482" y="201"/>
                </a:lnTo>
                <a:lnTo>
                  <a:pt x="5483" y="186"/>
                </a:lnTo>
                <a:lnTo>
                  <a:pt x="5485" y="172"/>
                </a:lnTo>
                <a:lnTo>
                  <a:pt x="5487" y="159"/>
                </a:lnTo>
                <a:lnTo>
                  <a:pt x="5489" y="147"/>
                </a:lnTo>
                <a:lnTo>
                  <a:pt x="5492" y="135"/>
                </a:lnTo>
                <a:lnTo>
                  <a:pt x="5495" y="124"/>
                </a:lnTo>
                <a:lnTo>
                  <a:pt x="5499" y="113"/>
                </a:lnTo>
                <a:lnTo>
                  <a:pt x="5504" y="102"/>
                </a:lnTo>
                <a:lnTo>
                  <a:pt x="5510" y="92"/>
                </a:lnTo>
                <a:lnTo>
                  <a:pt x="5516" y="82"/>
                </a:lnTo>
                <a:lnTo>
                  <a:pt x="5523" y="72"/>
                </a:lnTo>
                <a:lnTo>
                  <a:pt x="5531" y="63"/>
                </a:lnTo>
                <a:lnTo>
                  <a:pt x="5540" y="54"/>
                </a:lnTo>
                <a:lnTo>
                  <a:pt x="5547" y="47"/>
                </a:lnTo>
                <a:lnTo>
                  <a:pt x="5554" y="41"/>
                </a:lnTo>
                <a:lnTo>
                  <a:pt x="5561" y="35"/>
                </a:lnTo>
                <a:lnTo>
                  <a:pt x="5568" y="30"/>
                </a:lnTo>
                <a:lnTo>
                  <a:pt x="5576" y="25"/>
                </a:lnTo>
                <a:lnTo>
                  <a:pt x="5584" y="21"/>
                </a:lnTo>
                <a:lnTo>
                  <a:pt x="5592" y="17"/>
                </a:lnTo>
                <a:lnTo>
                  <a:pt x="5601" y="13"/>
                </a:lnTo>
                <a:lnTo>
                  <a:pt x="5609" y="10"/>
                </a:lnTo>
                <a:lnTo>
                  <a:pt x="5618" y="7"/>
                </a:lnTo>
                <a:lnTo>
                  <a:pt x="5627" y="5"/>
                </a:lnTo>
                <a:lnTo>
                  <a:pt x="5636" y="3"/>
                </a:lnTo>
                <a:lnTo>
                  <a:pt x="5646" y="2"/>
                </a:lnTo>
                <a:lnTo>
                  <a:pt x="5655" y="1"/>
                </a:lnTo>
                <a:lnTo>
                  <a:pt x="5675" y="0"/>
                </a:lnTo>
                <a:lnTo>
                  <a:pt x="5686" y="0"/>
                </a:lnTo>
                <a:lnTo>
                  <a:pt x="5696" y="1"/>
                </a:lnTo>
                <a:lnTo>
                  <a:pt x="5706" y="2"/>
                </a:lnTo>
                <a:lnTo>
                  <a:pt x="5715" y="3"/>
                </a:lnTo>
                <a:lnTo>
                  <a:pt x="5725" y="5"/>
                </a:lnTo>
                <a:lnTo>
                  <a:pt x="5734" y="7"/>
                </a:lnTo>
                <a:lnTo>
                  <a:pt x="5743" y="10"/>
                </a:lnTo>
                <a:lnTo>
                  <a:pt x="5751" y="14"/>
                </a:lnTo>
                <a:lnTo>
                  <a:pt x="5760" y="17"/>
                </a:lnTo>
                <a:lnTo>
                  <a:pt x="5768" y="21"/>
                </a:lnTo>
                <a:lnTo>
                  <a:pt x="5776" y="26"/>
                </a:lnTo>
                <a:lnTo>
                  <a:pt x="5784" y="31"/>
                </a:lnTo>
                <a:lnTo>
                  <a:pt x="5791" y="36"/>
                </a:lnTo>
                <a:lnTo>
                  <a:pt x="5799" y="42"/>
                </a:lnTo>
                <a:lnTo>
                  <a:pt x="5806" y="48"/>
                </a:lnTo>
                <a:lnTo>
                  <a:pt x="5813" y="55"/>
                </a:lnTo>
                <a:lnTo>
                  <a:pt x="5822" y="65"/>
                </a:lnTo>
                <a:lnTo>
                  <a:pt x="5826" y="71"/>
                </a:lnTo>
                <a:lnTo>
                  <a:pt x="5830" y="77"/>
                </a:lnTo>
                <a:lnTo>
                  <a:pt x="5837" y="88"/>
                </a:lnTo>
                <a:lnTo>
                  <a:pt x="5844" y="101"/>
                </a:lnTo>
                <a:lnTo>
                  <a:pt x="5846" y="108"/>
                </a:lnTo>
                <a:lnTo>
                  <a:pt x="5849" y="114"/>
                </a:lnTo>
                <a:lnTo>
                  <a:pt x="5853" y="129"/>
                </a:lnTo>
                <a:lnTo>
                  <a:pt x="5856" y="143"/>
                </a:lnTo>
                <a:lnTo>
                  <a:pt x="5858" y="151"/>
                </a:lnTo>
                <a:lnTo>
                  <a:pt x="5859" y="159"/>
                </a:lnTo>
                <a:lnTo>
                  <a:pt x="5769" y="159"/>
                </a:lnTo>
                <a:lnTo>
                  <a:pt x="5768" y="152"/>
                </a:lnTo>
                <a:lnTo>
                  <a:pt x="5767" y="146"/>
                </a:lnTo>
                <a:lnTo>
                  <a:pt x="5765" y="139"/>
                </a:lnTo>
                <a:lnTo>
                  <a:pt x="5763" y="133"/>
                </a:lnTo>
                <a:lnTo>
                  <a:pt x="5760" y="126"/>
                </a:lnTo>
                <a:lnTo>
                  <a:pt x="5756" y="120"/>
                </a:lnTo>
                <a:lnTo>
                  <a:pt x="5752" y="114"/>
                </a:lnTo>
                <a:lnTo>
                  <a:pt x="5748" y="108"/>
                </a:lnTo>
                <a:lnTo>
                  <a:pt x="5741" y="101"/>
                </a:lnTo>
                <a:lnTo>
                  <a:pt x="5738" y="98"/>
                </a:lnTo>
                <a:lnTo>
                  <a:pt x="5734" y="95"/>
                </a:lnTo>
                <a:lnTo>
                  <a:pt x="5726" y="90"/>
                </a:lnTo>
                <a:lnTo>
                  <a:pt x="5718" y="86"/>
                </a:lnTo>
                <a:lnTo>
                  <a:pt x="5708" y="83"/>
                </a:lnTo>
                <a:lnTo>
                  <a:pt x="5703" y="82"/>
                </a:lnTo>
                <a:lnTo>
                  <a:pt x="5698" y="81"/>
                </a:lnTo>
                <a:lnTo>
                  <a:pt x="5687" y="79"/>
                </a:lnTo>
                <a:lnTo>
                  <a:pt x="5675" y="79"/>
                </a:lnTo>
                <a:lnTo>
                  <a:pt x="5665" y="79"/>
                </a:lnTo>
                <a:lnTo>
                  <a:pt x="5659" y="80"/>
                </a:lnTo>
                <a:lnTo>
                  <a:pt x="5654" y="81"/>
                </a:lnTo>
                <a:lnTo>
                  <a:pt x="5645" y="83"/>
                </a:lnTo>
                <a:lnTo>
                  <a:pt x="5635" y="87"/>
                </a:lnTo>
                <a:lnTo>
                  <a:pt x="5626" y="91"/>
                </a:lnTo>
                <a:lnTo>
                  <a:pt x="5618" y="97"/>
                </a:lnTo>
                <a:lnTo>
                  <a:pt x="5609" y="103"/>
                </a:lnTo>
                <a:lnTo>
                  <a:pt x="5602" y="110"/>
                </a:lnTo>
                <a:lnTo>
                  <a:pt x="5595" y="119"/>
                </a:lnTo>
                <a:lnTo>
                  <a:pt x="5588" y="129"/>
                </a:lnTo>
                <a:lnTo>
                  <a:pt x="5585" y="135"/>
                </a:lnTo>
                <a:lnTo>
                  <a:pt x="5583" y="141"/>
                </a:lnTo>
                <a:lnTo>
                  <a:pt x="5579" y="154"/>
                </a:lnTo>
                <a:lnTo>
                  <a:pt x="5575" y="167"/>
                </a:lnTo>
                <a:lnTo>
                  <a:pt x="5574" y="173"/>
                </a:lnTo>
                <a:lnTo>
                  <a:pt x="5572" y="179"/>
                </a:lnTo>
                <a:lnTo>
                  <a:pt x="5571" y="189"/>
                </a:lnTo>
                <a:lnTo>
                  <a:pt x="5570" y="199"/>
                </a:lnTo>
                <a:lnTo>
                  <a:pt x="5569" y="220"/>
                </a:lnTo>
                <a:lnTo>
                  <a:pt x="5569" y="248"/>
                </a:lnTo>
                <a:lnTo>
                  <a:pt x="5569" y="276"/>
                </a:lnTo>
                <a:lnTo>
                  <a:pt x="5570" y="298"/>
                </a:lnTo>
                <a:lnTo>
                  <a:pt x="5571" y="307"/>
                </a:lnTo>
                <a:lnTo>
                  <a:pt x="5572" y="318"/>
                </a:lnTo>
                <a:lnTo>
                  <a:pt x="5575" y="330"/>
                </a:lnTo>
                <a:lnTo>
                  <a:pt x="5579" y="343"/>
                </a:lnTo>
                <a:lnTo>
                  <a:pt x="5583" y="356"/>
                </a:lnTo>
                <a:lnTo>
                  <a:pt x="5585" y="362"/>
                </a:lnTo>
                <a:lnTo>
                  <a:pt x="5588" y="367"/>
                </a:lnTo>
                <a:lnTo>
                  <a:pt x="5595" y="377"/>
                </a:lnTo>
                <a:lnTo>
                  <a:pt x="5598" y="382"/>
                </a:lnTo>
                <a:lnTo>
                  <a:pt x="5602" y="386"/>
                </a:lnTo>
                <a:lnTo>
                  <a:pt x="5606" y="390"/>
                </a:lnTo>
                <a:lnTo>
                  <a:pt x="5609" y="393"/>
                </a:lnTo>
                <a:lnTo>
                  <a:pt x="5618" y="400"/>
                </a:lnTo>
                <a:lnTo>
                  <a:pt x="5626" y="405"/>
                </a:lnTo>
                <a:lnTo>
                  <a:pt x="5635" y="410"/>
                </a:lnTo>
                <a:lnTo>
                  <a:pt x="5645" y="413"/>
                </a:lnTo>
                <a:lnTo>
                  <a:pt x="5654" y="416"/>
                </a:lnTo>
                <a:lnTo>
                  <a:pt x="5659" y="417"/>
                </a:lnTo>
                <a:lnTo>
                  <a:pt x="5665" y="417"/>
                </a:lnTo>
                <a:lnTo>
                  <a:pt x="5675" y="418"/>
                </a:lnTo>
                <a:lnTo>
                  <a:pt x="5687" y="417"/>
                </a:lnTo>
                <a:lnTo>
                  <a:pt x="5693" y="417"/>
                </a:lnTo>
                <a:lnTo>
                  <a:pt x="5698" y="416"/>
                </a:lnTo>
                <a:lnTo>
                  <a:pt x="5708" y="414"/>
                </a:lnTo>
                <a:lnTo>
                  <a:pt x="5718" y="410"/>
                </a:lnTo>
                <a:lnTo>
                  <a:pt x="5726" y="406"/>
                </a:lnTo>
                <a:lnTo>
                  <a:pt x="5730" y="403"/>
                </a:lnTo>
                <a:lnTo>
                  <a:pt x="5734" y="401"/>
                </a:lnTo>
                <a:lnTo>
                  <a:pt x="5741" y="395"/>
                </a:lnTo>
                <a:lnTo>
                  <a:pt x="5748" y="387"/>
                </a:lnTo>
                <a:lnTo>
                  <a:pt x="5752" y="382"/>
                </a:lnTo>
                <a:lnTo>
                  <a:pt x="5756" y="375"/>
                </a:lnTo>
                <a:lnTo>
                  <a:pt x="5760" y="369"/>
                </a:lnTo>
                <a:lnTo>
                  <a:pt x="5763" y="363"/>
                </a:lnTo>
                <a:lnTo>
                  <a:pt x="5767" y="349"/>
                </a:lnTo>
                <a:lnTo>
                  <a:pt x="5768" y="342"/>
                </a:lnTo>
                <a:lnTo>
                  <a:pt x="5769" y="335"/>
                </a:lnTo>
                <a:lnTo>
                  <a:pt x="5859" y="335"/>
                </a:lnTo>
                <a:close/>
                <a:moveTo>
                  <a:pt x="6372" y="248"/>
                </a:moveTo>
                <a:lnTo>
                  <a:pt x="6372" y="264"/>
                </a:lnTo>
                <a:lnTo>
                  <a:pt x="6371" y="280"/>
                </a:lnTo>
                <a:lnTo>
                  <a:pt x="6370" y="295"/>
                </a:lnTo>
                <a:lnTo>
                  <a:pt x="6369" y="309"/>
                </a:lnTo>
                <a:lnTo>
                  <a:pt x="6367" y="323"/>
                </a:lnTo>
                <a:lnTo>
                  <a:pt x="6365" y="336"/>
                </a:lnTo>
                <a:lnTo>
                  <a:pt x="6362" y="349"/>
                </a:lnTo>
                <a:lnTo>
                  <a:pt x="6359" y="360"/>
                </a:lnTo>
                <a:lnTo>
                  <a:pt x="6356" y="372"/>
                </a:lnTo>
                <a:lnTo>
                  <a:pt x="6352" y="383"/>
                </a:lnTo>
                <a:lnTo>
                  <a:pt x="6347" y="393"/>
                </a:lnTo>
                <a:lnTo>
                  <a:pt x="6341" y="404"/>
                </a:lnTo>
                <a:lnTo>
                  <a:pt x="6335" y="414"/>
                </a:lnTo>
                <a:lnTo>
                  <a:pt x="6327" y="424"/>
                </a:lnTo>
                <a:lnTo>
                  <a:pt x="6320" y="433"/>
                </a:lnTo>
                <a:lnTo>
                  <a:pt x="6311" y="442"/>
                </a:lnTo>
                <a:lnTo>
                  <a:pt x="6303" y="449"/>
                </a:lnTo>
                <a:lnTo>
                  <a:pt x="6296" y="455"/>
                </a:lnTo>
                <a:lnTo>
                  <a:pt x="6289" y="460"/>
                </a:lnTo>
                <a:lnTo>
                  <a:pt x="6281" y="466"/>
                </a:lnTo>
                <a:lnTo>
                  <a:pt x="6273" y="471"/>
                </a:lnTo>
                <a:lnTo>
                  <a:pt x="6265" y="475"/>
                </a:lnTo>
                <a:lnTo>
                  <a:pt x="6257" y="479"/>
                </a:lnTo>
                <a:lnTo>
                  <a:pt x="6248" y="483"/>
                </a:lnTo>
                <a:lnTo>
                  <a:pt x="6240" y="486"/>
                </a:lnTo>
                <a:lnTo>
                  <a:pt x="6231" y="489"/>
                </a:lnTo>
                <a:lnTo>
                  <a:pt x="6222" y="491"/>
                </a:lnTo>
                <a:lnTo>
                  <a:pt x="6212" y="493"/>
                </a:lnTo>
                <a:lnTo>
                  <a:pt x="6203" y="494"/>
                </a:lnTo>
                <a:lnTo>
                  <a:pt x="6193" y="495"/>
                </a:lnTo>
                <a:lnTo>
                  <a:pt x="6172" y="496"/>
                </a:lnTo>
                <a:lnTo>
                  <a:pt x="6152" y="495"/>
                </a:lnTo>
                <a:lnTo>
                  <a:pt x="6142" y="494"/>
                </a:lnTo>
                <a:lnTo>
                  <a:pt x="6132" y="493"/>
                </a:lnTo>
                <a:lnTo>
                  <a:pt x="6123" y="491"/>
                </a:lnTo>
                <a:lnTo>
                  <a:pt x="6114" y="489"/>
                </a:lnTo>
                <a:lnTo>
                  <a:pt x="6105" y="486"/>
                </a:lnTo>
                <a:lnTo>
                  <a:pt x="6096" y="483"/>
                </a:lnTo>
                <a:lnTo>
                  <a:pt x="6087" y="479"/>
                </a:lnTo>
                <a:lnTo>
                  <a:pt x="6079" y="475"/>
                </a:lnTo>
                <a:lnTo>
                  <a:pt x="6071" y="471"/>
                </a:lnTo>
                <a:lnTo>
                  <a:pt x="6063" y="466"/>
                </a:lnTo>
                <a:lnTo>
                  <a:pt x="6048" y="455"/>
                </a:lnTo>
                <a:lnTo>
                  <a:pt x="6041" y="449"/>
                </a:lnTo>
                <a:lnTo>
                  <a:pt x="6034" y="442"/>
                </a:lnTo>
                <a:lnTo>
                  <a:pt x="6026" y="433"/>
                </a:lnTo>
                <a:lnTo>
                  <a:pt x="6018" y="424"/>
                </a:lnTo>
                <a:lnTo>
                  <a:pt x="6011" y="414"/>
                </a:lnTo>
                <a:lnTo>
                  <a:pt x="6004" y="404"/>
                </a:lnTo>
                <a:lnTo>
                  <a:pt x="5999" y="393"/>
                </a:lnTo>
                <a:lnTo>
                  <a:pt x="5994" y="383"/>
                </a:lnTo>
                <a:lnTo>
                  <a:pt x="5990" y="372"/>
                </a:lnTo>
                <a:lnTo>
                  <a:pt x="5986" y="360"/>
                </a:lnTo>
                <a:lnTo>
                  <a:pt x="5983" y="349"/>
                </a:lnTo>
                <a:lnTo>
                  <a:pt x="5981" y="336"/>
                </a:lnTo>
                <a:lnTo>
                  <a:pt x="5977" y="309"/>
                </a:lnTo>
                <a:lnTo>
                  <a:pt x="5975" y="295"/>
                </a:lnTo>
                <a:lnTo>
                  <a:pt x="5974" y="280"/>
                </a:lnTo>
                <a:lnTo>
                  <a:pt x="5974" y="264"/>
                </a:lnTo>
                <a:lnTo>
                  <a:pt x="5974" y="248"/>
                </a:lnTo>
                <a:lnTo>
                  <a:pt x="5974" y="232"/>
                </a:lnTo>
                <a:lnTo>
                  <a:pt x="5974" y="216"/>
                </a:lnTo>
                <a:lnTo>
                  <a:pt x="5975" y="201"/>
                </a:lnTo>
                <a:lnTo>
                  <a:pt x="5977" y="187"/>
                </a:lnTo>
                <a:lnTo>
                  <a:pt x="5978" y="173"/>
                </a:lnTo>
                <a:lnTo>
                  <a:pt x="5981" y="160"/>
                </a:lnTo>
                <a:lnTo>
                  <a:pt x="5983" y="147"/>
                </a:lnTo>
                <a:lnTo>
                  <a:pt x="5986" y="135"/>
                </a:lnTo>
                <a:lnTo>
                  <a:pt x="5990" y="124"/>
                </a:lnTo>
                <a:lnTo>
                  <a:pt x="5994" y="113"/>
                </a:lnTo>
                <a:lnTo>
                  <a:pt x="5999" y="102"/>
                </a:lnTo>
                <a:lnTo>
                  <a:pt x="6004" y="92"/>
                </a:lnTo>
                <a:lnTo>
                  <a:pt x="6011" y="82"/>
                </a:lnTo>
                <a:lnTo>
                  <a:pt x="6018" y="72"/>
                </a:lnTo>
                <a:lnTo>
                  <a:pt x="6026" y="63"/>
                </a:lnTo>
                <a:lnTo>
                  <a:pt x="6034" y="54"/>
                </a:lnTo>
                <a:lnTo>
                  <a:pt x="6041" y="47"/>
                </a:lnTo>
                <a:lnTo>
                  <a:pt x="6048" y="41"/>
                </a:lnTo>
                <a:lnTo>
                  <a:pt x="6056" y="35"/>
                </a:lnTo>
                <a:lnTo>
                  <a:pt x="6063" y="30"/>
                </a:lnTo>
                <a:lnTo>
                  <a:pt x="6071" y="25"/>
                </a:lnTo>
                <a:lnTo>
                  <a:pt x="6079" y="21"/>
                </a:lnTo>
                <a:lnTo>
                  <a:pt x="6087" y="17"/>
                </a:lnTo>
                <a:lnTo>
                  <a:pt x="6096" y="13"/>
                </a:lnTo>
                <a:lnTo>
                  <a:pt x="6105" y="10"/>
                </a:lnTo>
                <a:lnTo>
                  <a:pt x="6114" y="7"/>
                </a:lnTo>
                <a:lnTo>
                  <a:pt x="6123" y="5"/>
                </a:lnTo>
                <a:lnTo>
                  <a:pt x="6132" y="3"/>
                </a:lnTo>
                <a:lnTo>
                  <a:pt x="6142" y="2"/>
                </a:lnTo>
                <a:lnTo>
                  <a:pt x="6152" y="1"/>
                </a:lnTo>
                <a:lnTo>
                  <a:pt x="6172" y="0"/>
                </a:lnTo>
                <a:lnTo>
                  <a:pt x="6193" y="1"/>
                </a:lnTo>
                <a:lnTo>
                  <a:pt x="6203" y="2"/>
                </a:lnTo>
                <a:lnTo>
                  <a:pt x="6212" y="3"/>
                </a:lnTo>
                <a:lnTo>
                  <a:pt x="6222" y="5"/>
                </a:lnTo>
                <a:lnTo>
                  <a:pt x="6231" y="7"/>
                </a:lnTo>
                <a:lnTo>
                  <a:pt x="6240" y="10"/>
                </a:lnTo>
                <a:lnTo>
                  <a:pt x="6248" y="13"/>
                </a:lnTo>
                <a:lnTo>
                  <a:pt x="6257" y="17"/>
                </a:lnTo>
                <a:lnTo>
                  <a:pt x="6265" y="21"/>
                </a:lnTo>
                <a:lnTo>
                  <a:pt x="6273" y="25"/>
                </a:lnTo>
                <a:lnTo>
                  <a:pt x="6281" y="30"/>
                </a:lnTo>
                <a:lnTo>
                  <a:pt x="6296" y="41"/>
                </a:lnTo>
                <a:lnTo>
                  <a:pt x="6303" y="47"/>
                </a:lnTo>
                <a:lnTo>
                  <a:pt x="6311" y="54"/>
                </a:lnTo>
                <a:lnTo>
                  <a:pt x="6320" y="63"/>
                </a:lnTo>
                <a:lnTo>
                  <a:pt x="6327" y="72"/>
                </a:lnTo>
                <a:lnTo>
                  <a:pt x="6335" y="82"/>
                </a:lnTo>
                <a:lnTo>
                  <a:pt x="6341" y="92"/>
                </a:lnTo>
                <a:lnTo>
                  <a:pt x="6347" y="102"/>
                </a:lnTo>
                <a:lnTo>
                  <a:pt x="6352" y="113"/>
                </a:lnTo>
                <a:lnTo>
                  <a:pt x="6356" y="124"/>
                </a:lnTo>
                <a:lnTo>
                  <a:pt x="6359" y="135"/>
                </a:lnTo>
                <a:lnTo>
                  <a:pt x="6362" y="147"/>
                </a:lnTo>
                <a:lnTo>
                  <a:pt x="6365" y="160"/>
                </a:lnTo>
                <a:lnTo>
                  <a:pt x="6369" y="187"/>
                </a:lnTo>
                <a:lnTo>
                  <a:pt x="6370" y="201"/>
                </a:lnTo>
                <a:lnTo>
                  <a:pt x="6371" y="216"/>
                </a:lnTo>
                <a:lnTo>
                  <a:pt x="6372" y="232"/>
                </a:lnTo>
                <a:lnTo>
                  <a:pt x="6372" y="248"/>
                </a:lnTo>
                <a:close/>
                <a:moveTo>
                  <a:pt x="6282" y="248"/>
                </a:moveTo>
                <a:lnTo>
                  <a:pt x="6282" y="224"/>
                </a:lnTo>
                <a:lnTo>
                  <a:pt x="6281" y="212"/>
                </a:lnTo>
                <a:lnTo>
                  <a:pt x="6280" y="201"/>
                </a:lnTo>
                <a:lnTo>
                  <a:pt x="6279" y="191"/>
                </a:lnTo>
                <a:lnTo>
                  <a:pt x="6277" y="181"/>
                </a:lnTo>
                <a:lnTo>
                  <a:pt x="6276" y="172"/>
                </a:lnTo>
                <a:lnTo>
                  <a:pt x="6274" y="163"/>
                </a:lnTo>
                <a:lnTo>
                  <a:pt x="6271" y="154"/>
                </a:lnTo>
                <a:lnTo>
                  <a:pt x="6269" y="147"/>
                </a:lnTo>
                <a:lnTo>
                  <a:pt x="6266" y="139"/>
                </a:lnTo>
                <a:lnTo>
                  <a:pt x="6263" y="132"/>
                </a:lnTo>
                <a:lnTo>
                  <a:pt x="6260" y="126"/>
                </a:lnTo>
                <a:lnTo>
                  <a:pt x="6256" y="120"/>
                </a:lnTo>
                <a:lnTo>
                  <a:pt x="6252" y="115"/>
                </a:lnTo>
                <a:lnTo>
                  <a:pt x="6248" y="110"/>
                </a:lnTo>
                <a:lnTo>
                  <a:pt x="6244" y="107"/>
                </a:lnTo>
                <a:lnTo>
                  <a:pt x="6240" y="103"/>
                </a:lnTo>
                <a:lnTo>
                  <a:pt x="6232" y="97"/>
                </a:lnTo>
                <a:lnTo>
                  <a:pt x="6223" y="91"/>
                </a:lnTo>
                <a:lnTo>
                  <a:pt x="6219" y="89"/>
                </a:lnTo>
                <a:lnTo>
                  <a:pt x="6214" y="87"/>
                </a:lnTo>
                <a:lnTo>
                  <a:pt x="6204" y="83"/>
                </a:lnTo>
                <a:lnTo>
                  <a:pt x="6194" y="81"/>
                </a:lnTo>
                <a:lnTo>
                  <a:pt x="6189" y="80"/>
                </a:lnTo>
                <a:lnTo>
                  <a:pt x="6183" y="79"/>
                </a:lnTo>
                <a:lnTo>
                  <a:pt x="6172" y="79"/>
                </a:lnTo>
                <a:lnTo>
                  <a:pt x="6161" y="79"/>
                </a:lnTo>
                <a:lnTo>
                  <a:pt x="6156" y="80"/>
                </a:lnTo>
                <a:lnTo>
                  <a:pt x="6150" y="81"/>
                </a:lnTo>
                <a:lnTo>
                  <a:pt x="6140" y="83"/>
                </a:lnTo>
                <a:lnTo>
                  <a:pt x="6130" y="87"/>
                </a:lnTo>
                <a:lnTo>
                  <a:pt x="6126" y="89"/>
                </a:lnTo>
                <a:lnTo>
                  <a:pt x="6121" y="91"/>
                </a:lnTo>
                <a:lnTo>
                  <a:pt x="6112" y="97"/>
                </a:lnTo>
                <a:lnTo>
                  <a:pt x="6104" y="103"/>
                </a:lnTo>
                <a:lnTo>
                  <a:pt x="6100" y="107"/>
                </a:lnTo>
                <a:lnTo>
                  <a:pt x="6097" y="110"/>
                </a:lnTo>
                <a:lnTo>
                  <a:pt x="6092" y="115"/>
                </a:lnTo>
                <a:lnTo>
                  <a:pt x="6088" y="120"/>
                </a:lnTo>
                <a:lnTo>
                  <a:pt x="6081" y="132"/>
                </a:lnTo>
                <a:lnTo>
                  <a:pt x="6078" y="139"/>
                </a:lnTo>
                <a:lnTo>
                  <a:pt x="6076" y="147"/>
                </a:lnTo>
                <a:lnTo>
                  <a:pt x="6073" y="154"/>
                </a:lnTo>
                <a:lnTo>
                  <a:pt x="6071" y="163"/>
                </a:lnTo>
                <a:lnTo>
                  <a:pt x="6069" y="172"/>
                </a:lnTo>
                <a:lnTo>
                  <a:pt x="6067" y="181"/>
                </a:lnTo>
                <a:lnTo>
                  <a:pt x="6064" y="201"/>
                </a:lnTo>
                <a:lnTo>
                  <a:pt x="6063" y="212"/>
                </a:lnTo>
                <a:lnTo>
                  <a:pt x="6063" y="224"/>
                </a:lnTo>
                <a:lnTo>
                  <a:pt x="6062" y="248"/>
                </a:lnTo>
                <a:lnTo>
                  <a:pt x="6062" y="275"/>
                </a:lnTo>
                <a:lnTo>
                  <a:pt x="6063" y="297"/>
                </a:lnTo>
                <a:lnTo>
                  <a:pt x="6065" y="307"/>
                </a:lnTo>
                <a:lnTo>
                  <a:pt x="6066" y="318"/>
                </a:lnTo>
                <a:lnTo>
                  <a:pt x="6069" y="330"/>
                </a:lnTo>
                <a:lnTo>
                  <a:pt x="6073" y="343"/>
                </a:lnTo>
                <a:lnTo>
                  <a:pt x="6075" y="349"/>
                </a:lnTo>
                <a:lnTo>
                  <a:pt x="6077" y="355"/>
                </a:lnTo>
                <a:lnTo>
                  <a:pt x="6083" y="367"/>
                </a:lnTo>
                <a:lnTo>
                  <a:pt x="6086" y="372"/>
                </a:lnTo>
                <a:lnTo>
                  <a:pt x="6089" y="377"/>
                </a:lnTo>
                <a:lnTo>
                  <a:pt x="6097" y="385"/>
                </a:lnTo>
                <a:lnTo>
                  <a:pt x="6100" y="389"/>
                </a:lnTo>
                <a:lnTo>
                  <a:pt x="6104" y="393"/>
                </a:lnTo>
                <a:lnTo>
                  <a:pt x="6112" y="399"/>
                </a:lnTo>
                <a:lnTo>
                  <a:pt x="6121" y="405"/>
                </a:lnTo>
                <a:lnTo>
                  <a:pt x="6126" y="407"/>
                </a:lnTo>
                <a:lnTo>
                  <a:pt x="6130" y="409"/>
                </a:lnTo>
                <a:lnTo>
                  <a:pt x="6140" y="413"/>
                </a:lnTo>
                <a:lnTo>
                  <a:pt x="6150" y="415"/>
                </a:lnTo>
                <a:lnTo>
                  <a:pt x="6156" y="416"/>
                </a:lnTo>
                <a:lnTo>
                  <a:pt x="6161" y="417"/>
                </a:lnTo>
                <a:lnTo>
                  <a:pt x="6172" y="417"/>
                </a:lnTo>
                <a:lnTo>
                  <a:pt x="6183" y="417"/>
                </a:lnTo>
                <a:lnTo>
                  <a:pt x="6189" y="416"/>
                </a:lnTo>
                <a:lnTo>
                  <a:pt x="6194" y="415"/>
                </a:lnTo>
                <a:lnTo>
                  <a:pt x="6204" y="413"/>
                </a:lnTo>
                <a:lnTo>
                  <a:pt x="6214" y="409"/>
                </a:lnTo>
                <a:lnTo>
                  <a:pt x="6219" y="407"/>
                </a:lnTo>
                <a:lnTo>
                  <a:pt x="6223" y="405"/>
                </a:lnTo>
                <a:lnTo>
                  <a:pt x="6232" y="399"/>
                </a:lnTo>
                <a:lnTo>
                  <a:pt x="6240" y="393"/>
                </a:lnTo>
                <a:lnTo>
                  <a:pt x="6244" y="389"/>
                </a:lnTo>
                <a:lnTo>
                  <a:pt x="6248" y="385"/>
                </a:lnTo>
                <a:lnTo>
                  <a:pt x="6252" y="381"/>
                </a:lnTo>
                <a:lnTo>
                  <a:pt x="6255" y="377"/>
                </a:lnTo>
                <a:lnTo>
                  <a:pt x="6258" y="372"/>
                </a:lnTo>
                <a:lnTo>
                  <a:pt x="6261" y="367"/>
                </a:lnTo>
                <a:lnTo>
                  <a:pt x="6267" y="355"/>
                </a:lnTo>
                <a:lnTo>
                  <a:pt x="6269" y="349"/>
                </a:lnTo>
                <a:lnTo>
                  <a:pt x="6271" y="343"/>
                </a:lnTo>
                <a:lnTo>
                  <a:pt x="6275" y="330"/>
                </a:lnTo>
                <a:lnTo>
                  <a:pt x="6278" y="318"/>
                </a:lnTo>
                <a:lnTo>
                  <a:pt x="6280" y="307"/>
                </a:lnTo>
                <a:lnTo>
                  <a:pt x="6281" y="297"/>
                </a:lnTo>
                <a:lnTo>
                  <a:pt x="6282" y="275"/>
                </a:lnTo>
                <a:lnTo>
                  <a:pt x="6282" y="24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0201" tIns="40100" rIns="80201" bIns="40100" numCol="1" anchor="t" anchorCtr="0" compatLnSpc="1">
            <a:prstTxWarp prst="textNoShape">
              <a:avLst/>
            </a:prstTxWarp>
          </a:bodyPr>
          <a:lstStyle/>
          <a:p>
            <a:endParaRPr lang="fi-FI" sz="1579"/>
          </a:p>
        </p:txBody>
      </p:sp>
    </p:spTree>
    <p:extLst>
      <p:ext uri="{BB962C8B-B14F-4D97-AF65-F5344CB8AC3E}">
        <p14:creationId xmlns:p14="http://schemas.microsoft.com/office/powerpoint/2010/main" val="2190644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hemistry with a purpose">
    <p:bg>
      <p:bgPr>
        <a:solidFill>
          <a:srgbClr val="005BB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AA0A8932-32C3-4C8C-AFC9-C20F22F03AA0}" type="datetime1">
              <a:rPr lang="fi-FI" smtClean="0"/>
              <a:t>22.5.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LASSIFICATION  /  PRESENTATION  /  AUTH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9B8CDF1A-3CDE-4195-AF23-CDCF2878DEB5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D4A5A4D-500C-4A52-A6A8-D21FE69F103B}"/>
              </a:ext>
            </a:extLst>
          </p:cNvPr>
          <p:cNvGrpSpPr>
            <a:grpSpLocks noChangeAspect="1"/>
          </p:cNvGrpSpPr>
          <p:nvPr/>
        </p:nvGrpSpPr>
        <p:grpSpPr>
          <a:xfrm>
            <a:off x="2188850" y="3304972"/>
            <a:ext cx="6483006" cy="794000"/>
            <a:chOff x="0" y="2838450"/>
            <a:chExt cx="12190413" cy="1187450"/>
          </a:xfrm>
          <a:solidFill>
            <a:schemeClr val="bg1"/>
          </a:solidFill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E2ACA046-A81C-4DF6-8BD4-795F34C9C3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27813" y="3041650"/>
              <a:ext cx="5562600" cy="984250"/>
            </a:xfrm>
            <a:custGeom>
              <a:avLst/>
              <a:gdLst>
                <a:gd name="T0" fmla="*/ 4197 w 7008"/>
                <a:gd name="T1" fmla="*/ 1237 h 1241"/>
                <a:gd name="T2" fmla="*/ 3844 w 7008"/>
                <a:gd name="T3" fmla="*/ 1098 h 1241"/>
                <a:gd name="T4" fmla="*/ 3871 w 7008"/>
                <a:gd name="T5" fmla="*/ 878 h 1241"/>
                <a:gd name="T6" fmla="*/ 4020 w 7008"/>
                <a:gd name="T7" fmla="*/ 1098 h 1241"/>
                <a:gd name="T8" fmla="*/ 3537 w 7008"/>
                <a:gd name="T9" fmla="*/ 859 h 1241"/>
                <a:gd name="T10" fmla="*/ 3474 w 7008"/>
                <a:gd name="T11" fmla="*/ 865 h 1241"/>
                <a:gd name="T12" fmla="*/ 3023 w 7008"/>
                <a:gd name="T13" fmla="*/ 1189 h 1241"/>
                <a:gd name="T14" fmla="*/ 2914 w 7008"/>
                <a:gd name="T15" fmla="*/ 813 h 1241"/>
                <a:gd name="T16" fmla="*/ 2563 w 7008"/>
                <a:gd name="T17" fmla="*/ 853 h 1241"/>
                <a:gd name="T18" fmla="*/ 2714 w 7008"/>
                <a:gd name="T19" fmla="*/ 838 h 1241"/>
                <a:gd name="T20" fmla="*/ 2620 w 7008"/>
                <a:gd name="T21" fmla="*/ 1115 h 1241"/>
                <a:gd name="T22" fmla="*/ 1968 w 7008"/>
                <a:gd name="T23" fmla="*/ 1112 h 1241"/>
                <a:gd name="T24" fmla="*/ 1908 w 7008"/>
                <a:gd name="T25" fmla="*/ 992 h 1241"/>
                <a:gd name="T26" fmla="*/ 1607 w 7008"/>
                <a:gd name="T27" fmla="*/ 820 h 1241"/>
                <a:gd name="T28" fmla="*/ 1280 w 7008"/>
                <a:gd name="T29" fmla="*/ 845 h 1241"/>
                <a:gd name="T30" fmla="*/ 1398 w 7008"/>
                <a:gd name="T31" fmla="*/ 819 h 1241"/>
                <a:gd name="T32" fmla="*/ 1345 w 7008"/>
                <a:gd name="T33" fmla="*/ 1114 h 1241"/>
                <a:gd name="T34" fmla="*/ 1133 w 7008"/>
                <a:gd name="T35" fmla="*/ 1057 h 1241"/>
                <a:gd name="T36" fmla="*/ 849 w 7008"/>
                <a:gd name="T37" fmla="*/ 1063 h 1241"/>
                <a:gd name="T38" fmla="*/ 412 w 7008"/>
                <a:gd name="T39" fmla="*/ 1069 h 1241"/>
                <a:gd name="T40" fmla="*/ 453 w 7008"/>
                <a:gd name="T41" fmla="*/ 1041 h 1241"/>
                <a:gd name="T42" fmla="*/ 251 w 7008"/>
                <a:gd name="T43" fmla="*/ 794 h 1241"/>
                <a:gd name="T44" fmla="*/ 55 w 7008"/>
                <a:gd name="T45" fmla="*/ 908 h 1241"/>
                <a:gd name="T46" fmla="*/ 305 w 7008"/>
                <a:gd name="T47" fmla="*/ 1037 h 1241"/>
                <a:gd name="T48" fmla="*/ 60 w 7008"/>
                <a:gd name="T49" fmla="*/ 46 h 1241"/>
                <a:gd name="T50" fmla="*/ 96 w 7008"/>
                <a:gd name="T51" fmla="*/ 84 h 1241"/>
                <a:gd name="T52" fmla="*/ 322 w 7008"/>
                <a:gd name="T53" fmla="*/ 359 h 1241"/>
                <a:gd name="T54" fmla="*/ 592 w 7008"/>
                <a:gd name="T55" fmla="*/ 190 h 1241"/>
                <a:gd name="T56" fmla="*/ 747 w 7008"/>
                <a:gd name="T57" fmla="*/ 210 h 1241"/>
                <a:gd name="T58" fmla="*/ 936 w 7008"/>
                <a:gd name="T59" fmla="*/ 379 h 1241"/>
                <a:gd name="T60" fmla="*/ 791 w 7008"/>
                <a:gd name="T61" fmla="*/ 240 h 1241"/>
                <a:gd name="T62" fmla="*/ 1490 w 7008"/>
                <a:gd name="T63" fmla="*/ 155 h 1241"/>
                <a:gd name="T64" fmla="*/ 1254 w 7008"/>
                <a:gd name="T65" fmla="*/ 182 h 1241"/>
                <a:gd name="T66" fmla="*/ 1772 w 7008"/>
                <a:gd name="T67" fmla="*/ 417 h 1241"/>
                <a:gd name="T68" fmla="*/ 1778 w 7008"/>
                <a:gd name="T69" fmla="*/ 282 h 1241"/>
                <a:gd name="T70" fmla="*/ 1900 w 7008"/>
                <a:gd name="T71" fmla="*/ 175 h 1241"/>
                <a:gd name="T72" fmla="*/ 1890 w 7008"/>
                <a:gd name="T73" fmla="*/ 443 h 1241"/>
                <a:gd name="T74" fmla="*/ 2228 w 7008"/>
                <a:gd name="T75" fmla="*/ 388 h 1241"/>
                <a:gd name="T76" fmla="*/ 2506 w 7008"/>
                <a:gd name="T77" fmla="*/ 569 h 1241"/>
                <a:gd name="T78" fmla="*/ 3023 w 7008"/>
                <a:gd name="T79" fmla="*/ 437 h 1241"/>
                <a:gd name="T80" fmla="*/ 3495 w 7008"/>
                <a:gd name="T81" fmla="*/ 177 h 1241"/>
                <a:gd name="T82" fmla="*/ 3913 w 7008"/>
                <a:gd name="T83" fmla="*/ 123 h 1241"/>
                <a:gd name="T84" fmla="*/ 3821 w 7008"/>
                <a:gd name="T85" fmla="*/ 437 h 1241"/>
                <a:gd name="T86" fmla="*/ 4357 w 7008"/>
                <a:gd name="T87" fmla="*/ 165 h 1241"/>
                <a:gd name="T88" fmla="*/ 4492 w 7008"/>
                <a:gd name="T89" fmla="*/ 398 h 1241"/>
                <a:gd name="T90" fmla="*/ 4303 w 7008"/>
                <a:gd name="T91" fmla="*/ 302 h 1241"/>
                <a:gd name="T92" fmla="*/ 4971 w 7008"/>
                <a:gd name="T93" fmla="*/ 211 h 1241"/>
                <a:gd name="T94" fmla="*/ 4930 w 7008"/>
                <a:gd name="T95" fmla="*/ 284 h 1241"/>
                <a:gd name="T96" fmla="*/ 5075 w 7008"/>
                <a:gd name="T97" fmla="*/ 399 h 1241"/>
                <a:gd name="T98" fmla="*/ 5243 w 7008"/>
                <a:gd name="T99" fmla="*/ 412 h 1241"/>
                <a:gd name="T100" fmla="*/ 5631 w 7008"/>
                <a:gd name="T101" fmla="*/ 567 h 1241"/>
                <a:gd name="T102" fmla="*/ 5822 w 7008"/>
                <a:gd name="T103" fmla="*/ 435 h 1241"/>
                <a:gd name="T104" fmla="*/ 5714 w 7008"/>
                <a:gd name="T105" fmla="*/ 187 h 1241"/>
                <a:gd name="T106" fmla="*/ 6078 w 7008"/>
                <a:gd name="T107" fmla="*/ 126 h 1241"/>
                <a:gd name="T108" fmla="*/ 6192 w 7008"/>
                <a:gd name="T109" fmla="*/ 313 h 1241"/>
                <a:gd name="T110" fmla="*/ 6403 w 7008"/>
                <a:gd name="T111" fmla="*/ 443 h 1241"/>
                <a:gd name="T112" fmla="*/ 6387 w 7008"/>
                <a:gd name="T113" fmla="*/ 298 h 1241"/>
                <a:gd name="T114" fmla="*/ 6489 w 7008"/>
                <a:gd name="T115" fmla="*/ 198 h 1241"/>
                <a:gd name="T116" fmla="*/ 6516 w 7008"/>
                <a:gd name="T117" fmla="*/ 420 h 1241"/>
                <a:gd name="T118" fmla="*/ 6862 w 7008"/>
                <a:gd name="T119" fmla="*/ 188 h 1241"/>
                <a:gd name="T120" fmla="*/ 6661 w 7008"/>
                <a:gd name="T121" fmla="*/ 258 h 1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008" h="1241">
                  <a:moveTo>
                    <a:pt x="4403" y="1034"/>
                  </a:moveTo>
                  <a:lnTo>
                    <a:pt x="4474" y="1034"/>
                  </a:lnTo>
                  <a:lnTo>
                    <a:pt x="4474" y="1107"/>
                  </a:lnTo>
                  <a:lnTo>
                    <a:pt x="4403" y="1107"/>
                  </a:lnTo>
                  <a:lnTo>
                    <a:pt x="4403" y="1034"/>
                  </a:lnTo>
                  <a:close/>
                  <a:moveTo>
                    <a:pt x="4165" y="1241"/>
                  </a:moveTo>
                  <a:lnTo>
                    <a:pt x="4138" y="1238"/>
                  </a:lnTo>
                  <a:lnTo>
                    <a:pt x="4120" y="1232"/>
                  </a:lnTo>
                  <a:lnTo>
                    <a:pt x="4120" y="1189"/>
                  </a:lnTo>
                  <a:lnTo>
                    <a:pt x="4136" y="1195"/>
                  </a:lnTo>
                  <a:lnTo>
                    <a:pt x="4155" y="1196"/>
                  </a:lnTo>
                  <a:lnTo>
                    <a:pt x="4172" y="1195"/>
                  </a:lnTo>
                  <a:lnTo>
                    <a:pt x="4188" y="1189"/>
                  </a:lnTo>
                  <a:lnTo>
                    <a:pt x="4203" y="1176"/>
                  </a:lnTo>
                  <a:lnTo>
                    <a:pt x="4214" y="1154"/>
                  </a:lnTo>
                  <a:lnTo>
                    <a:pt x="4232" y="1107"/>
                  </a:lnTo>
                  <a:lnTo>
                    <a:pt x="4110" y="801"/>
                  </a:lnTo>
                  <a:lnTo>
                    <a:pt x="4168" y="801"/>
                  </a:lnTo>
                  <a:lnTo>
                    <a:pt x="4258" y="1041"/>
                  </a:lnTo>
                  <a:lnTo>
                    <a:pt x="4344" y="801"/>
                  </a:lnTo>
                  <a:lnTo>
                    <a:pt x="4397" y="801"/>
                  </a:lnTo>
                  <a:lnTo>
                    <a:pt x="4262" y="1164"/>
                  </a:lnTo>
                  <a:lnTo>
                    <a:pt x="4254" y="1183"/>
                  </a:lnTo>
                  <a:lnTo>
                    <a:pt x="4245" y="1199"/>
                  </a:lnTo>
                  <a:lnTo>
                    <a:pt x="4235" y="1212"/>
                  </a:lnTo>
                  <a:lnTo>
                    <a:pt x="4225" y="1222"/>
                  </a:lnTo>
                  <a:lnTo>
                    <a:pt x="4212" y="1231"/>
                  </a:lnTo>
                  <a:lnTo>
                    <a:pt x="4197" y="1237"/>
                  </a:lnTo>
                  <a:lnTo>
                    <a:pt x="4165" y="1241"/>
                  </a:lnTo>
                  <a:close/>
                  <a:moveTo>
                    <a:pt x="3917" y="1072"/>
                  </a:moveTo>
                  <a:lnTo>
                    <a:pt x="3937" y="1070"/>
                  </a:lnTo>
                  <a:lnTo>
                    <a:pt x="3955" y="1065"/>
                  </a:lnTo>
                  <a:lnTo>
                    <a:pt x="3969" y="1056"/>
                  </a:lnTo>
                  <a:lnTo>
                    <a:pt x="3982" y="1044"/>
                  </a:lnTo>
                  <a:lnTo>
                    <a:pt x="3992" y="1031"/>
                  </a:lnTo>
                  <a:lnTo>
                    <a:pt x="4000" y="1014"/>
                  </a:lnTo>
                  <a:lnTo>
                    <a:pt x="4004" y="997"/>
                  </a:lnTo>
                  <a:lnTo>
                    <a:pt x="4005" y="978"/>
                  </a:lnTo>
                  <a:lnTo>
                    <a:pt x="4005" y="959"/>
                  </a:lnTo>
                  <a:lnTo>
                    <a:pt x="3918" y="965"/>
                  </a:lnTo>
                  <a:lnTo>
                    <a:pt x="3895" y="968"/>
                  </a:lnTo>
                  <a:lnTo>
                    <a:pt x="3885" y="972"/>
                  </a:lnTo>
                  <a:lnTo>
                    <a:pt x="3876" y="979"/>
                  </a:lnTo>
                  <a:lnTo>
                    <a:pt x="3868" y="986"/>
                  </a:lnTo>
                  <a:lnTo>
                    <a:pt x="3862" y="995"/>
                  </a:lnTo>
                  <a:lnTo>
                    <a:pt x="3857" y="1007"/>
                  </a:lnTo>
                  <a:lnTo>
                    <a:pt x="3856" y="1020"/>
                  </a:lnTo>
                  <a:lnTo>
                    <a:pt x="3860" y="1039"/>
                  </a:lnTo>
                  <a:lnTo>
                    <a:pt x="3871" y="1056"/>
                  </a:lnTo>
                  <a:lnTo>
                    <a:pt x="3889" y="1067"/>
                  </a:lnTo>
                  <a:lnTo>
                    <a:pt x="3902" y="1070"/>
                  </a:lnTo>
                  <a:lnTo>
                    <a:pt x="3917" y="1072"/>
                  </a:lnTo>
                  <a:close/>
                  <a:moveTo>
                    <a:pt x="3910" y="1115"/>
                  </a:moveTo>
                  <a:lnTo>
                    <a:pt x="3885" y="1112"/>
                  </a:lnTo>
                  <a:lnTo>
                    <a:pt x="3863" y="1107"/>
                  </a:lnTo>
                  <a:lnTo>
                    <a:pt x="3844" y="1098"/>
                  </a:lnTo>
                  <a:lnTo>
                    <a:pt x="3830" y="1086"/>
                  </a:lnTo>
                  <a:lnTo>
                    <a:pt x="3818" y="1072"/>
                  </a:lnTo>
                  <a:lnTo>
                    <a:pt x="3811" y="1056"/>
                  </a:lnTo>
                  <a:lnTo>
                    <a:pt x="3805" y="1039"/>
                  </a:lnTo>
                  <a:lnTo>
                    <a:pt x="3804" y="1021"/>
                  </a:lnTo>
                  <a:lnTo>
                    <a:pt x="3805" y="1005"/>
                  </a:lnTo>
                  <a:lnTo>
                    <a:pt x="3810" y="989"/>
                  </a:lnTo>
                  <a:lnTo>
                    <a:pt x="3827" y="960"/>
                  </a:lnTo>
                  <a:lnTo>
                    <a:pt x="3841" y="947"/>
                  </a:lnTo>
                  <a:lnTo>
                    <a:pt x="3860" y="936"/>
                  </a:lnTo>
                  <a:lnTo>
                    <a:pt x="3884" y="929"/>
                  </a:lnTo>
                  <a:lnTo>
                    <a:pt x="3913" y="926"/>
                  </a:lnTo>
                  <a:lnTo>
                    <a:pt x="4005" y="920"/>
                  </a:lnTo>
                  <a:lnTo>
                    <a:pt x="4005" y="898"/>
                  </a:lnTo>
                  <a:lnTo>
                    <a:pt x="4005" y="884"/>
                  </a:lnTo>
                  <a:lnTo>
                    <a:pt x="4001" y="871"/>
                  </a:lnTo>
                  <a:lnTo>
                    <a:pt x="3997" y="859"/>
                  </a:lnTo>
                  <a:lnTo>
                    <a:pt x="3990" y="851"/>
                  </a:lnTo>
                  <a:lnTo>
                    <a:pt x="3979" y="843"/>
                  </a:lnTo>
                  <a:lnTo>
                    <a:pt x="3969" y="839"/>
                  </a:lnTo>
                  <a:lnTo>
                    <a:pt x="3955" y="836"/>
                  </a:lnTo>
                  <a:lnTo>
                    <a:pt x="3940" y="835"/>
                  </a:lnTo>
                  <a:lnTo>
                    <a:pt x="3911" y="839"/>
                  </a:lnTo>
                  <a:lnTo>
                    <a:pt x="3900" y="843"/>
                  </a:lnTo>
                  <a:lnTo>
                    <a:pt x="3889" y="851"/>
                  </a:lnTo>
                  <a:lnTo>
                    <a:pt x="3881" y="858"/>
                  </a:lnTo>
                  <a:lnTo>
                    <a:pt x="3875" y="868"/>
                  </a:lnTo>
                  <a:lnTo>
                    <a:pt x="3871" y="878"/>
                  </a:lnTo>
                  <a:lnTo>
                    <a:pt x="3869" y="891"/>
                  </a:lnTo>
                  <a:lnTo>
                    <a:pt x="3820" y="891"/>
                  </a:lnTo>
                  <a:lnTo>
                    <a:pt x="3821" y="869"/>
                  </a:lnTo>
                  <a:lnTo>
                    <a:pt x="3828" y="849"/>
                  </a:lnTo>
                  <a:lnTo>
                    <a:pt x="3840" y="833"/>
                  </a:lnTo>
                  <a:lnTo>
                    <a:pt x="3855" y="819"/>
                  </a:lnTo>
                  <a:lnTo>
                    <a:pt x="3872" y="809"/>
                  </a:lnTo>
                  <a:lnTo>
                    <a:pt x="3892" y="800"/>
                  </a:lnTo>
                  <a:lnTo>
                    <a:pt x="3915" y="796"/>
                  </a:lnTo>
                  <a:lnTo>
                    <a:pt x="3940" y="794"/>
                  </a:lnTo>
                  <a:lnTo>
                    <a:pt x="3965" y="796"/>
                  </a:lnTo>
                  <a:lnTo>
                    <a:pt x="3988" y="800"/>
                  </a:lnTo>
                  <a:lnTo>
                    <a:pt x="4008" y="809"/>
                  </a:lnTo>
                  <a:lnTo>
                    <a:pt x="4024" y="820"/>
                  </a:lnTo>
                  <a:lnTo>
                    <a:pt x="4039" y="836"/>
                  </a:lnTo>
                  <a:lnTo>
                    <a:pt x="4049" y="853"/>
                  </a:lnTo>
                  <a:lnTo>
                    <a:pt x="4055" y="875"/>
                  </a:lnTo>
                  <a:lnTo>
                    <a:pt x="4056" y="900"/>
                  </a:lnTo>
                  <a:lnTo>
                    <a:pt x="4056" y="1047"/>
                  </a:lnTo>
                  <a:lnTo>
                    <a:pt x="4058" y="1057"/>
                  </a:lnTo>
                  <a:lnTo>
                    <a:pt x="4062" y="1063"/>
                  </a:lnTo>
                  <a:lnTo>
                    <a:pt x="4074" y="1067"/>
                  </a:lnTo>
                  <a:lnTo>
                    <a:pt x="4087" y="1066"/>
                  </a:lnTo>
                  <a:lnTo>
                    <a:pt x="4087" y="1104"/>
                  </a:lnTo>
                  <a:lnTo>
                    <a:pt x="4071" y="1109"/>
                  </a:lnTo>
                  <a:lnTo>
                    <a:pt x="4053" y="1111"/>
                  </a:lnTo>
                  <a:lnTo>
                    <a:pt x="4034" y="1107"/>
                  </a:lnTo>
                  <a:lnTo>
                    <a:pt x="4020" y="1098"/>
                  </a:lnTo>
                  <a:lnTo>
                    <a:pt x="4016" y="1091"/>
                  </a:lnTo>
                  <a:lnTo>
                    <a:pt x="4011" y="1082"/>
                  </a:lnTo>
                  <a:lnTo>
                    <a:pt x="4008" y="1065"/>
                  </a:lnTo>
                  <a:lnTo>
                    <a:pt x="4001" y="1075"/>
                  </a:lnTo>
                  <a:lnTo>
                    <a:pt x="3991" y="1085"/>
                  </a:lnTo>
                  <a:lnTo>
                    <a:pt x="3968" y="1101"/>
                  </a:lnTo>
                  <a:lnTo>
                    <a:pt x="3955" y="1107"/>
                  </a:lnTo>
                  <a:lnTo>
                    <a:pt x="3940" y="1111"/>
                  </a:lnTo>
                  <a:lnTo>
                    <a:pt x="3910" y="1115"/>
                  </a:lnTo>
                  <a:close/>
                  <a:moveTo>
                    <a:pt x="3596" y="1072"/>
                  </a:moveTo>
                  <a:lnTo>
                    <a:pt x="3612" y="1070"/>
                  </a:lnTo>
                  <a:lnTo>
                    <a:pt x="3627" y="1066"/>
                  </a:lnTo>
                  <a:lnTo>
                    <a:pt x="3650" y="1050"/>
                  </a:lnTo>
                  <a:lnTo>
                    <a:pt x="3664" y="1031"/>
                  </a:lnTo>
                  <a:lnTo>
                    <a:pt x="3675" y="1008"/>
                  </a:lnTo>
                  <a:lnTo>
                    <a:pt x="3680" y="982"/>
                  </a:lnTo>
                  <a:lnTo>
                    <a:pt x="3682" y="955"/>
                  </a:lnTo>
                  <a:lnTo>
                    <a:pt x="3680" y="926"/>
                  </a:lnTo>
                  <a:lnTo>
                    <a:pt x="3676" y="900"/>
                  </a:lnTo>
                  <a:lnTo>
                    <a:pt x="3666" y="877"/>
                  </a:lnTo>
                  <a:lnTo>
                    <a:pt x="3650" y="856"/>
                  </a:lnTo>
                  <a:lnTo>
                    <a:pt x="3627" y="843"/>
                  </a:lnTo>
                  <a:lnTo>
                    <a:pt x="3612" y="839"/>
                  </a:lnTo>
                  <a:lnTo>
                    <a:pt x="3596" y="838"/>
                  </a:lnTo>
                  <a:lnTo>
                    <a:pt x="3577" y="839"/>
                  </a:lnTo>
                  <a:lnTo>
                    <a:pt x="3563" y="843"/>
                  </a:lnTo>
                  <a:lnTo>
                    <a:pt x="3548" y="851"/>
                  </a:lnTo>
                  <a:lnTo>
                    <a:pt x="3537" y="859"/>
                  </a:lnTo>
                  <a:lnTo>
                    <a:pt x="3524" y="879"/>
                  </a:lnTo>
                  <a:lnTo>
                    <a:pt x="3518" y="891"/>
                  </a:lnTo>
                  <a:lnTo>
                    <a:pt x="3513" y="903"/>
                  </a:lnTo>
                  <a:lnTo>
                    <a:pt x="3509" y="929"/>
                  </a:lnTo>
                  <a:lnTo>
                    <a:pt x="3508" y="955"/>
                  </a:lnTo>
                  <a:lnTo>
                    <a:pt x="3509" y="979"/>
                  </a:lnTo>
                  <a:lnTo>
                    <a:pt x="3513" y="1004"/>
                  </a:lnTo>
                  <a:lnTo>
                    <a:pt x="3522" y="1027"/>
                  </a:lnTo>
                  <a:lnTo>
                    <a:pt x="3528" y="1037"/>
                  </a:lnTo>
                  <a:lnTo>
                    <a:pt x="3534" y="1046"/>
                  </a:lnTo>
                  <a:lnTo>
                    <a:pt x="3545" y="1056"/>
                  </a:lnTo>
                  <a:lnTo>
                    <a:pt x="3560" y="1065"/>
                  </a:lnTo>
                  <a:lnTo>
                    <a:pt x="3576" y="1070"/>
                  </a:lnTo>
                  <a:lnTo>
                    <a:pt x="3596" y="1072"/>
                  </a:lnTo>
                  <a:close/>
                  <a:moveTo>
                    <a:pt x="3590" y="1115"/>
                  </a:moveTo>
                  <a:lnTo>
                    <a:pt x="3563" y="1112"/>
                  </a:lnTo>
                  <a:lnTo>
                    <a:pt x="3540" y="1105"/>
                  </a:lnTo>
                  <a:lnTo>
                    <a:pt x="3519" y="1095"/>
                  </a:lnTo>
                  <a:lnTo>
                    <a:pt x="3502" y="1082"/>
                  </a:lnTo>
                  <a:lnTo>
                    <a:pt x="3482" y="1056"/>
                  </a:lnTo>
                  <a:lnTo>
                    <a:pt x="3466" y="1026"/>
                  </a:lnTo>
                  <a:lnTo>
                    <a:pt x="3461" y="1010"/>
                  </a:lnTo>
                  <a:lnTo>
                    <a:pt x="3457" y="992"/>
                  </a:lnTo>
                  <a:lnTo>
                    <a:pt x="3454" y="955"/>
                  </a:lnTo>
                  <a:lnTo>
                    <a:pt x="3457" y="916"/>
                  </a:lnTo>
                  <a:lnTo>
                    <a:pt x="3461" y="898"/>
                  </a:lnTo>
                  <a:lnTo>
                    <a:pt x="3467" y="881"/>
                  </a:lnTo>
                  <a:lnTo>
                    <a:pt x="3474" y="865"/>
                  </a:lnTo>
                  <a:lnTo>
                    <a:pt x="3483" y="849"/>
                  </a:lnTo>
                  <a:lnTo>
                    <a:pt x="3493" y="836"/>
                  </a:lnTo>
                  <a:lnTo>
                    <a:pt x="3505" y="825"/>
                  </a:lnTo>
                  <a:lnTo>
                    <a:pt x="3522" y="811"/>
                  </a:lnTo>
                  <a:lnTo>
                    <a:pt x="3543" y="801"/>
                  </a:lnTo>
                  <a:lnTo>
                    <a:pt x="3566" y="796"/>
                  </a:lnTo>
                  <a:lnTo>
                    <a:pt x="3592" y="794"/>
                  </a:lnTo>
                  <a:lnTo>
                    <a:pt x="3621" y="797"/>
                  </a:lnTo>
                  <a:lnTo>
                    <a:pt x="3634" y="800"/>
                  </a:lnTo>
                  <a:lnTo>
                    <a:pt x="3646" y="806"/>
                  </a:lnTo>
                  <a:lnTo>
                    <a:pt x="3666" y="819"/>
                  </a:lnTo>
                  <a:lnTo>
                    <a:pt x="3679" y="838"/>
                  </a:lnTo>
                  <a:lnTo>
                    <a:pt x="3679" y="670"/>
                  </a:lnTo>
                  <a:lnTo>
                    <a:pt x="3731" y="670"/>
                  </a:lnTo>
                  <a:lnTo>
                    <a:pt x="3731" y="1107"/>
                  </a:lnTo>
                  <a:lnTo>
                    <a:pt x="3686" y="1107"/>
                  </a:lnTo>
                  <a:lnTo>
                    <a:pt x="3682" y="1060"/>
                  </a:lnTo>
                  <a:lnTo>
                    <a:pt x="3675" y="1073"/>
                  </a:lnTo>
                  <a:lnTo>
                    <a:pt x="3666" y="1085"/>
                  </a:lnTo>
                  <a:lnTo>
                    <a:pt x="3656" y="1093"/>
                  </a:lnTo>
                  <a:lnTo>
                    <a:pt x="3644" y="1101"/>
                  </a:lnTo>
                  <a:lnTo>
                    <a:pt x="3618" y="1112"/>
                  </a:lnTo>
                  <a:lnTo>
                    <a:pt x="3603" y="1114"/>
                  </a:lnTo>
                  <a:lnTo>
                    <a:pt x="3590" y="1115"/>
                  </a:lnTo>
                  <a:close/>
                  <a:moveTo>
                    <a:pt x="3068" y="1241"/>
                  </a:moveTo>
                  <a:lnTo>
                    <a:pt x="3039" y="1238"/>
                  </a:lnTo>
                  <a:lnTo>
                    <a:pt x="3023" y="1232"/>
                  </a:lnTo>
                  <a:lnTo>
                    <a:pt x="3023" y="1189"/>
                  </a:lnTo>
                  <a:lnTo>
                    <a:pt x="3039" y="1195"/>
                  </a:lnTo>
                  <a:lnTo>
                    <a:pt x="3058" y="1196"/>
                  </a:lnTo>
                  <a:lnTo>
                    <a:pt x="3075" y="1195"/>
                  </a:lnTo>
                  <a:lnTo>
                    <a:pt x="3091" y="1189"/>
                  </a:lnTo>
                  <a:lnTo>
                    <a:pt x="3106" y="1176"/>
                  </a:lnTo>
                  <a:lnTo>
                    <a:pt x="3117" y="1154"/>
                  </a:lnTo>
                  <a:lnTo>
                    <a:pt x="3135" y="1107"/>
                  </a:lnTo>
                  <a:lnTo>
                    <a:pt x="3013" y="801"/>
                  </a:lnTo>
                  <a:lnTo>
                    <a:pt x="3071" y="801"/>
                  </a:lnTo>
                  <a:lnTo>
                    <a:pt x="3161" y="1041"/>
                  </a:lnTo>
                  <a:lnTo>
                    <a:pt x="3246" y="801"/>
                  </a:lnTo>
                  <a:lnTo>
                    <a:pt x="3300" y="801"/>
                  </a:lnTo>
                  <a:lnTo>
                    <a:pt x="3164" y="1164"/>
                  </a:lnTo>
                  <a:lnTo>
                    <a:pt x="3156" y="1183"/>
                  </a:lnTo>
                  <a:lnTo>
                    <a:pt x="3148" y="1199"/>
                  </a:lnTo>
                  <a:lnTo>
                    <a:pt x="3138" y="1212"/>
                  </a:lnTo>
                  <a:lnTo>
                    <a:pt x="3126" y="1222"/>
                  </a:lnTo>
                  <a:lnTo>
                    <a:pt x="3114" y="1231"/>
                  </a:lnTo>
                  <a:lnTo>
                    <a:pt x="3100" y="1237"/>
                  </a:lnTo>
                  <a:lnTo>
                    <a:pt x="3068" y="1241"/>
                  </a:lnTo>
                  <a:close/>
                  <a:moveTo>
                    <a:pt x="2827" y="1107"/>
                  </a:moveTo>
                  <a:lnTo>
                    <a:pt x="2827" y="801"/>
                  </a:lnTo>
                  <a:lnTo>
                    <a:pt x="2873" y="801"/>
                  </a:lnTo>
                  <a:lnTo>
                    <a:pt x="2878" y="855"/>
                  </a:lnTo>
                  <a:lnTo>
                    <a:pt x="2885" y="842"/>
                  </a:lnTo>
                  <a:lnTo>
                    <a:pt x="2892" y="830"/>
                  </a:lnTo>
                  <a:lnTo>
                    <a:pt x="2903" y="820"/>
                  </a:lnTo>
                  <a:lnTo>
                    <a:pt x="2914" y="813"/>
                  </a:lnTo>
                  <a:lnTo>
                    <a:pt x="2940" y="803"/>
                  </a:lnTo>
                  <a:lnTo>
                    <a:pt x="2969" y="800"/>
                  </a:lnTo>
                  <a:lnTo>
                    <a:pt x="2992" y="801"/>
                  </a:lnTo>
                  <a:lnTo>
                    <a:pt x="2992" y="852"/>
                  </a:lnTo>
                  <a:lnTo>
                    <a:pt x="2969" y="849"/>
                  </a:lnTo>
                  <a:lnTo>
                    <a:pt x="2946" y="852"/>
                  </a:lnTo>
                  <a:lnTo>
                    <a:pt x="2927" y="858"/>
                  </a:lnTo>
                  <a:lnTo>
                    <a:pt x="2911" y="868"/>
                  </a:lnTo>
                  <a:lnTo>
                    <a:pt x="2898" y="882"/>
                  </a:lnTo>
                  <a:lnTo>
                    <a:pt x="2889" y="898"/>
                  </a:lnTo>
                  <a:lnTo>
                    <a:pt x="2884" y="917"/>
                  </a:lnTo>
                  <a:lnTo>
                    <a:pt x="2879" y="937"/>
                  </a:lnTo>
                  <a:lnTo>
                    <a:pt x="2879" y="959"/>
                  </a:lnTo>
                  <a:lnTo>
                    <a:pt x="2879" y="1107"/>
                  </a:lnTo>
                  <a:lnTo>
                    <a:pt x="2827" y="1107"/>
                  </a:lnTo>
                  <a:close/>
                  <a:moveTo>
                    <a:pt x="2528" y="927"/>
                  </a:moveTo>
                  <a:lnTo>
                    <a:pt x="2696" y="927"/>
                  </a:lnTo>
                  <a:lnTo>
                    <a:pt x="2695" y="908"/>
                  </a:lnTo>
                  <a:lnTo>
                    <a:pt x="2692" y="891"/>
                  </a:lnTo>
                  <a:lnTo>
                    <a:pt x="2685" y="875"/>
                  </a:lnTo>
                  <a:lnTo>
                    <a:pt x="2676" y="862"/>
                  </a:lnTo>
                  <a:lnTo>
                    <a:pt x="2665" y="852"/>
                  </a:lnTo>
                  <a:lnTo>
                    <a:pt x="2650" y="843"/>
                  </a:lnTo>
                  <a:lnTo>
                    <a:pt x="2633" y="839"/>
                  </a:lnTo>
                  <a:lnTo>
                    <a:pt x="2614" y="838"/>
                  </a:lnTo>
                  <a:lnTo>
                    <a:pt x="2595" y="839"/>
                  </a:lnTo>
                  <a:lnTo>
                    <a:pt x="2577" y="845"/>
                  </a:lnTo>
                  <a:lnTo>
                    <a:pt x="2563" y="853"/>
                  </a:lnTo>
                  <a:lnTo>
                    <a:pt x="2550" y="865"/>
                  </a:lnTo>
                  <a:lnTo>
                    <a:pt x="2541" y="879"/>
                  </a:lnTo>
                  <a:lnTo>
                    <a:pt x="2534" y="894"/>
                  </a:lnTo>
                  <a:lnTo>
                    <a:pt x="2530" y="911"/>
                  </a:lnTo>
                  <a:lnTo>
                    <a:pt x="2528" y="927"/>
                  </a:lnTo>
                  <a:close/>
                  <a:moveTo>
                    <a:pt x="2620" y="1115"/>
                  </a:moveTo>
                  <a:lnTo>
                    <a:pt x="2588" y="1112"/>
                  </a:lnTo>
                  <a:lnTo>
                    <a:pt x="2559" y="1102"/>
                  </a:lnTo>
                  <a:lnTo>
                    <a:pt x="2532" y="1088"/>
                  </a:lnTo>
                  <a:lnTo>
                    <a:pt x="2512" y="1069"/>
                  </a:lnTo>
                  <a:lnTo>
                    <a:pt x="2495" y="1046"/>
                  </a:lnTo>
                  <a:lnTo>
                    <a:pt x="2483" y="1018"/>
                  </a:lnTo>
                  <a:lnTo>
                    <a:pt x="2476" y="988"/>
                  </a:lnTo>
                  <a:lnTo>
                    <a:pt x="2473" y="956"/>
                  </a:lnTo>
                  <a:lnTo>
                    <a:pt x="2474" y="929"/>
                  </a:lnTo>
                  <a:lnTo>
                    <a:pt x="2479" y="904"/>
                  </a:lnTo>
                  <a:lnTo>
                    <a:pt x="2486" y="879"/>
                  </a:lnTo>
                  <a:lnTo>
                    <a:pt x="2498" y="858"/>
                  </a:lnTo>
                  <a:lnTo>
                    <a:pt x="2518" y="833"/>
                  </a:lnTo>
                  <a:lnTo>
                    <a:pt x="2544" y="811"/>
                  </a:lnTo>
                  <a:lnTo>
                    <a:pt x="2560" y="804"/>
                  </a:lnTo>
                  <a:lnTo>
                    <a:pt x="2577" y="798"/>
                  </a:lnTo>
                  <a:lnTo>
                    <a:pt x="2615" y="794"/>
                  </a:lnTo>
                  <a:lnTo>
                    <a:pt x="2646" y="797"/>
                  </a:lnTo>
                  <a:lnTo>
                    <a:pt x="2659" y="800"/>
                  </a:lnTo>
                  <a:lnTo>
                    <a:pt x="2672" y="806"/>
                  </a:lnTo>
                  <a:lnTo>
                    <a:pt x="2695" y="819"/>
                  </a:lnTo>
                  <a:lnTo>
                    <a:pt x="2714" y="838"/>
                  </a:lnTo>
                  <a:lnTo>
                    <a:pt x="2730" y="859"/>
                  </a:lnTo>
                  <a:lnTo>
                    <a:pt x="2740" y="884"/>
                  </a:lnTo>
                  <a:lnTo>
                    <a:pt x="2747" y="911"/>
                  </a:lnTo>
                  <a:lnTo>
                    <a:pt x="2750" y="940"/>
                  </a:lnTo>
                  <a:lnTo>
                    <a:pt x="2749" y="972"/>
                  </a:lnTo>
                  <a:lnTo>
                    <a:pt x="2527" y="972"/>
                  </a:lnTo>
                  <a:lnTo>
                    <a:pt x="2528" y="992"/>
                  </a:lnTo>
                  <a:lnTo>
                    <a:pt x="2534" y="1011"/>
                  </a:lnTo>
                  <a:lnTo>
                    <a:pt x="2541" y="1027"/>
                  </a:lnTo>
                  <a:lnTo>
                    <a:pt x="2551" y="1041"/>
                  </a:lnTo>
                  <a:lnTo>
                    <a:pt x="2564" y="1053"/>
                  </a:lnTo>
                  <a:lnTo>
                    <a:pt x="2580" y="1062"/>
                  </a:lnTo>
                  <a:lnTo>
                    <a:pt x="2599" y="1067"/>
                  </a:lnTo>
                  <a:lnTo>
                    <a:pt x="2620" y="1070"/>
                  </a:lnTo>
                  <a:lnTo>
                    <a:pt x="2644" y="1066"/>
                  </a:lnTo>
                  <a:lnTo>
                    <a:pt x="2666" y="1056"/>
                  </a:lnTo>
                  <a:lnTo>
                    <a:pt x="2675" y="1049"/>
                  </a:lnTo>
                  <a:lnTo>
                    <a:pt x="2682" y="1040"/>
                  </a:lnTo>
                  <a:lnTo>
                    <a:pt x="2694" y="1015"/>
                  </a:lnTo>
                  <a:lnTo>
                    <a:pt x="2744" y="1015"/>
                  </a:lnTo>
                  <a:lnTo>
                    <a:pt x="2740" y="1037"/>
                  </a:lnTo>
                  <a:lnTo>
                    <a:pt x="2730" y="1056"/>
                  </a:lnTo>
                  <a:lnTo>
                    <a:pt x="2718" y="1073"/>
                  </a:lnTo>
                  <a:lnTo>
                    <a:pt x="2702" y="1088"/>
                  </a:lnTo>
                  <a:lnTo>
                    <a:pt x="2683" y="1099"/>
                  </a:lnTo>
                  <a:lnTo>
                    <a:pt x="2663" y="1108"/>
                  </a:lnTo>
                  <a:lnTo>
                    <a:pt x="2641" y="1114"/>
                  </a:lnTo>
                  <a:lnTo>
                    <a:pt x="2620" y="1115"/>
                  </a:lnTo>
                  <a:close/>
                  <a:moveTo>
                    <a:pt x="2276" y="1107"/>
                  </a:moveTo>
                  <a:lnTo>
                    <a:pt x="2162" y="801"/>
                  </a:lnTo>
                  <a:lnTo>
                    <a:pt x="2216" y="801"/>
                  </a:lnTo>
                  <a:lnTo>
                    <a:pt x="2305" y="1047"/>
                  </a:lnTo>
                  <a:lnTo>
                    <a:pt x="2389" y="801"/>
                  </a:lnTo>
                  <a:lnTo>
                    <a:pt x="2441" y="801"/>
                  </a:lnTo>
                  <a:lnTo>
                    <a:pt x="2331" y="1107"/>
                  </a:lnTo>
                  <a:lnTo>
                    <a:pt x="2276" y="1107"/>
                  </a:lnTo>
                  <a:close/>
                  <a:moveTo>
                    <a:pt x="1908" y="927"/>
                  </a:moveTo>
                  <a:lnTo>
                    <a:pt x="2078" y="927"/>
                  </a:lnTo>
                  <a:lnTo>
                    <a:pt x="2077" y="908"/>
                  </a:lnTo>
                  <a:lnTo>
                    <a:pt x="2072" y="891"/>
                  </a:lnTo>
                  <a:lnTo>
                    <a:pt x="2065" y="875"/>
                  </a:lnTo>
                  <a:lnTo>
                    <a:pt x="2056" y="862"/>
                  </a:lnTo>
                  <a:lnTo>
                    <a:pt x="2045" y="852"/>
                  </a:lnTo>
                  <a:lnTo>
                    <a:pt x="2030" y="843"/>
                  </a:lnTo>
                  <a:lnTo>
                    <a:pt x="2014" y="839"/>
                  </a:lnTo>
                  <a:lnTo>
                    <a:pt x="1994" y="838"/>
                  </a:lnTo>
                  <a:lnTo>
                    <a:pt x="1975" y="839"/>
                  </a:lnTo>
                  <a:lnTo>
                    <a:pt x="1958" y="845"/>
                  </a:lnTo>
                  <a:lnTo>
                    <a:pt x="1943" y="853"/>
                  </a:lnTo>
                  <a:lnTo>
                    <a:pt x="1932" y="865"/>
                  </a:lnTo>
                  <a:lnTo>
                    <a:pt x="1921" y="879"/>
                  </a:lnTo>
                  <a:lnTo>
                    <a:pt x="1914" y="894"/>
                  </a:lnTo>
                  <a:lnTo>
                    <a:pt x="1910" y="911"/>
                  </a:lnTo>
                  <a:lnTo>
                    <a:pt x="1908" y="927"/>
                  </a:lnTo>
                  <a:close/>
                  <a:moveTo>
                    <a:pt x="2000" y="1115"/>
                  </a:moveTo>
                  <a:lnTo>
                    <a:pt x="1968" y="1112"/>
                  </a:lnTo>
                  <a:lnTo>
                    <a:pt x="1939" y="1102"/>
                  </a:lnTo>
                  <a:lnTo>
                    <a:pt x="1913" y="1088"/>
                  </a:lnTo>
                  <a:lnTo>
                    <a:pt x="1892" y="1069"/>
                  </a:lnTo>
                  <a:lnTo>
                    <a:pt x="1875" y="1046"/>
                  </a:lnTo>
                  <a:lnTo>
                    <a:pt x="1863" y="1018"/>
                  </a:lnTo>
                  <a:lnTo>
                    <a:pt x="1856" y="988"/>
                  </a:lnTo>
                  <a:lnTo>
                    <a:pt x="1853" y="956"/>
                  </a:lnTo>
                  <a:lnTo>
                    <a:pt x="1855" y="929"/>
                  </a:lnTo>
                  <a:lnTo>
                    <a:pt x="1859" y="904"/>
                  </a:lnTo>
                  <a:lnTo>
                    <a:pt x="1866" y="879"/>
                  </a:lnTo>
                  <a:lnTo>
                    <a:pt x="1878" y="858"/>
                  </a:lnTo>
                  <a:lnTo>
                    <a:pt x="1898" y="833"/>
                  </a:lnTo>
                  <a:lnTo>
                    <a:pt x="1924" y="811"/>
                  </a:lnTo>
                  <a:lnTo>
                    <a:pt x="1940" y="804"/>
                  </a:lnTo>
                  <a:lnTo>
                    <a:pt x="1958" y="798"/>
                  </a:lnTo>
                  <a:lnTo>
                    <a:pt x="1995" y="794"/>
                  </a:lnTo>
                  <a:lnTo>
                    <a:pt x="2026" y="797"/>
                  </a:lnTo>
                  <a:lnTo>
                    <a:pt x="2039" y="800"/>
                  </a:lnTo>
                  <a:lnTo>
                    <a:pt x="2052" y="806"/>
                  </a:lnTo>
                  <a:lnTo>
                    <a:pt x="2075" y="819"/>
                  </a:lnTo>
                  <a:lnTo>
                    <a:pt x="2094" y="838"/>
                  </a:lnTo>
                  <a:lnTo>
                    <a:pt x="2110" y="859"/>
                  </a:lnTo>
                  <a:lnTo>
                    <a:pt x="2120" y="884"/>
                  </a:lnTo>
                  <a:lnTo>
                    <a:pt x="2128" y="911"/>
                  </a:lnTo>
                  <a:lnTo>
                    <a:pt x="2130" y="940"/>
                  </a:lnTo>
                  <a:lnTo>
                    <a:pt x="2129" y="972"/>
                  </a:lnTo>
                  <a:lnTo>
                    <a:pt x="1907" y="972"/>
                  </a:lnTo>
                  <a:lnTo>
                    <a:pt x="1908" y="992"/>
                  </a:lnTo>
                  <a:lnTo>
                    <a:pt x="1914" y="1011"/>
                  </a:lnTo>
                  <a:lnTo>
                    <a:pt x="1921" y="1027"/>
                  </a:lnTo>
                  <a:lnTo>
                    <a:pt x="1932" y="1041"/>
                  </a:lnTo>
                  <a:lnTo>
                    <a:pt x="1945" y="1053"/>
                  </a:lnTo>
                  <a:lnTo>
                    <a:pt x="1961" y="1062"/>
                  </a:lnTo>
                  <a:lnTo>
                    <a:pt x="1980" y="1067"/>
                  </a:lnTo>
                  <a:lnTo>
                    <a:pt x="2000" y="1070"/>
                  </a:lnTo>
                  <a:lnTo>
                    <a:pt x="2025" y="1066"/>
                  </a:lnTo>
                  <a:lnTo>
                    <a:pt x="2046" y="1056"/>
                  </a:lnTo>
                  <a:lnTo>
                    <a:pt x="2055" y="1049"/>
                  </a:lnTo>
                  <a:lnTo>
                    <a:pt x="2064" y="1040"/>
                  </a:lnTo>
                  <a:lnTo>
                    <a:pt x="2074" y="1015"/>
                  </a:lnTo>
                  <a:lnTo>
                    <a:pt x="2125" y="1015"/>
                  </a:lnTo>
                  <a:lnTo>
                    <a:pt x="2120" y="1037"/>
                  </a:lnTo>
                  <a:lnTo>
                    <a:pt x="2112" y="1056"/>
                  </a:lnTo>
                  <a:lnTo>
                    <a:pt x="2099" y="1073"/>
                  </a:lnTo>
                  <a:lnTo>
                    <a:pt x="2083" y="1088"/>
                  </a:lnTo>
                  <a:lnTo>
                    <a:pt x="2065" y="1099"/>
                  </a:lnTo>
                  <a:lnTo>
                    <a:pt x="2045" y="1108"/>
                  </a:lnTo>
                  <a:lnTo>
                    <a:pt x="2023" y="1114"/>
                  </a:lnTo>
                  <a:lnTo>
                    <a:pt x="2000" y="1115"/>
                  </a:lnTo>
                  <a:close/>
                  <a:moveTo>
                    <a:pt x="1531" y="1107"/>
                  </a:moveTo>
                  <a:lnTo>
                    <a:pt x="1531" y="801"/>
                  </a:lnTo>
                  <a:lnTo>
                    <a:pt x="1576" y="801"/>
                  </a:lnTo>
                  <a:lnTo>
                    <a:pt x="1580" y="855"/>
                  </a:lnTo>
                  <a:lnTo>
                    <a:pt x="1588" y="842"/>
                  </a:lnTo>
                  <a:lnTo>
                    <a:pt x="1596" y="830"/>
                  </a:lnTo>
                  <a:lnTo>
                    <a:pt x="1607" y="820"/>
                  </a:lnTo>
                  <a:lnTo>
                    <a:pt x="1618" y="813"/>
                  </a:lnTo>
                  <a:lnTo>
                    <a:pt x="1644" y="803"/>
                  </a:lnTo>
                  <a:lnTo>
                    <a:pt x="1672" y="800"/>
                  </a:lnTo>
                  <a:lnTo>
                    <a:pt x="1697" y="801"/>
                  </a:lnTo>
                  <a:lnTo>
                    <a:pt x="1697" y="852"/>
                  </a:lnTo>
                  <a:lnTo>
                    <a:pt x="1672" y="849"/>
                  </a:lnTo>
                  <a:lnTo>
                    <a:pt x="1649" y="852"/>
                  </a:lnTo>
                  <a:lnTo>
                    <a:pt x="1630" y="858"/>
                  </a:lnTo>
                  <a:lnTo>
                    <a:pt x="1614" y="868"/>
                  </a:lnTo>
                  <a:lnTo>
                    <a:pt x="1602" y="882"/>
                  </a:lnTo>
                  <a:lnTo>
                    <a:pt x="1593" y="898"/>
                  </a:lnTo>
                  <a:lnTo>
                    <a:pt x="1586" y="917"/>
                  </a:lnTo>
                  <a:lnTo>
                    <a:pt x="1583" y="937"/>
                  </a:lnTo>
                  <a:lnTo>
                    <a:pt x="1582" y="959"/>
                  </a:lnTo>
                  <a:lnTo>
                    <a:pt x="1582" y="1107"/>
                  </a:lnTo>
                  <a:lnTo>
                    <a:pt x="1531" y="1107"/>
                  </a:lnTo>
                  <a:close/>
                  <a:moveTo>
                    <a:pt x="1232" y="927"/>
                  </a:moveTo>
                  <a:lnTo>
                    <a:pt x="1400" y="927"/>
                  </a:lnTo>
                  <a:lnTo>
                    <a:pt x="1399" y="908"/>
                  </a:lnTo>
                  <a:lnTo>
                    <a:pt x="1395" y="891"/>
                  </a:lnTo>
                  <a:lnTo>
                    <a:pt x="1389" y="875"/>
                  </a:lnTo>
                  <a:lnTo>
                    <a:pt x="1379" y="862"/>
                  </a:lnTo>
                  <a:lnTo>
                    <a:pt x="1367" y="852"/>
                  </a:lnTo>
                  <a:lnTo>
                    <a:pt x="1353" y="843"/>
                  </a:lnTo>
                  <a:lnTo>
                    <a:pt x="1337" y="839"/>
                  </a:lnTo>
                  <a:lnTo>
                    <a:pt x="1318" y="838"/>
                  </a:lnTo>
                  <a:lnTo>
                    <a:pt x="1297" y="839"/>
                  </a:lnTo>
                  <a:lnTo>
                    <a:pt x="1280" y="845"/>
                  </a:lnTo>
                  <a:lnTo>
                    <a:pt x="1266" y="853"/>
                  </a:lnTo>
                  <a:lnTo>
                    <a:pt x="1254" y="865"/>
                  </a:lnTo>
                  <a:lnTo>
                    <a:pt x="1244" y="879"/>
                  </a:lnTo>
                  <a:lnTo>
                    <a:pt x="1238" y="894"/>
                  </a:lnTo>
                  <a:lnTo>
                    <a:pt x="1234" y="911"/>
                  </a:lnTo>
                  <a:lnTo>
                    <a:pt x="1232" y="927"/>
                  </a:lnTo>
                  <a:close/>
                  <a:moveTo>
                    <a:pt x="1322" y="1115"/>
                  </a:moveTo>
                  <a:lnTo>
                    <a:pt x="1290" y="1112"/>
                  </a:lnTo>
                  <a:lnTo>
                    <a:pt x="1261" y="1102"/>
                  </a:lnTo>
                  <a:lnTo>
                    <a:pt x="1236" y="1088"/>
                  </a:lnTo>
                  <a:lnTo>
                    <a:pt x="1215" y="1069"/>
                  </a:lnTo>
                  <a:lnTo>
                    <a:pt x="1199" y="1046"/>
                  </a:lnTo>
                  <a:lnTo>
                    <a:pt x="1186" y="1018"/>
                  </a:lnTo>
                  <a:lnTo>
                    <a:pt x="1178" y="988"/>
                  </a:lnTo>
                  <a:lnTo>
                    <a:pt x="1177" y="956"/>
                  </a:lnTo>
                  <a:lnTo>
                    <a:pt x="1178" y="929"/>
                  </a:lnTo>
                  <a:lnTo>
                    <a:pt x="1181" y="904"/>
                  </a:lnTo>
                  <a:lnTo>
                    <a:pt x="1190" y="879"/>
                  </a:lnTo>
                  <a:lnTo>
                    <a:pt x="1200" y="858"/>
                  </a:lnTo>
                  <a:lnTo>
                    <a:pt x="1221" y="833"/>
                  </a:lnTo>
                  <a:lnTo>
                    <a:pt x="1248" y="811"/>
                  </a:lnTo>
                  <a:lnTo>
                    <a:pt x="1264" y="804"/>
                  </a:lnTo>
                  <a:lnTo>
                    <a:pt x="1280" y="798"/>
                  </a:lnTo>
                  <a:lnTo>
                    <a:pt x="1319" y="794"/>
                  </a:lnTo>
                  <a:lnTo>
                    <a:pt x="1348" y="797"/>
                  </a:lnTo>
                  <a:lnTo>
                    <a:pt x="1363" y="800"/>
                  </a:lnTo>
                  <a:lnTo>
                    <a:pt x="1374" y="806"/>
                  </a:lnTo>
                  <a:lnTo>
                    <a:pt x="1398" y="819"/>
                  </a:lnTo>
                  <a:lnTo>
                    <a:pt x="1418" y="838"/>
                  </a:lnTo>
                  <a:lnTo>
                    <a:pt x="1432" y="859"/>
                  </a:lnTo>
                  <a:lnTo>
                    <a:pt x="1444" y="884"/>
                  </a:lnTo>
                  <a:lnTo>
                    <a:pt x="1451" y="911"/>
                  </a:lnTo>
                  <a:lnTo>
                    <a:pt x="1453" y="940"/>
                  </a:lnTo>
                  <a:lnTo>
                    <a:pt x="1451" y="972"/>
                  </a:lnTo>
                  <a:lnTo>
                    <a:pt x="1231" y="972"/>
                  </a:lnTo>
                  <a:lnTo>
                    <a:pt x="1232" y="992"/>
                  </a:lnTo>
                  <a:lnTo>
                    <a:pt x="1236" y="1011"/>
                  </a:lnTo>
                  <a:lnTo>
                    <a:pt x="1244" y="1027"/>
                  </a:lnTo>
                  <a:lnTo>
                    <a:pt x="1255" y="1041"/>
                  </a:lnTo>
                  <a:lnTo>
                    <a:pt x="1268" y="1053"/>
                  </a:lnTo>
                  <a:lnTo>
                    <a:pt x="1284" y="1062"/>
                  </a:lnTo>
                  <a:lnTo>
                    <a:pt x="1302" y="1067"/>
                  </a:lnTo>
                  <a:lnTo>
                    <a:pt x="1324" y="1070"/>
                  </a:lnTo>
                  <a:lnTo>
                    <a:pt x="1348" y="1066"/>
                  </a:lnTo>
                  <a:lnTo>
                    <a:pt x="1369" y="1056"/>
                  </a:lnTo>
                  <a:lnTo>
                    <a:pt x="1379" y="1049"/>
                  </a:lnTo>
                  <a:lnTo>
                    <a:pt x="1386" y="1040"/>
                  </a:lnTo>
                  <a:lnTo>
                    <a:pt x="1396" y="1015"/>
                  </a:lnTo>
                  <a:lnTo>
                    <a:pt x="1448" y="1015"/>
                  </a:lnTo>
                  <a:lnTo>
                    <a:pt x="1443" y="1037"/>
                  </a:lnTo>
                  <a:lnTo>
                    <a:pt x="1434" y="1056"/>
                  </a:lnTo>
                  <a:lnTo>
                    <a:pt x="1421" y="1073"/>
                  </a:lnTo>
                  <a:lnTo>
                    <a:pt x="1405" y="1088"/>
                  </a:lnTo>
                  <a:lnTo>
                    <a:pt x="1387" y="1099"/>
                  </a:lnTo>
                  <a:lnTo>
                    <a:pt x="1367" y="1108"/>
                  </a:lnTo>
                  <a:lnTo>
                    <a:pt x="1345" y="1114"/>
                  </a:lnTo>
                  <a:lnTo>
                    <a:pt x="1322" y="1115"/>
                  </a:lnTo>
                  <a:close/>
                  <a:moveTo>
                    <a:pt x="1080" y="1111"/>
                  </a:moveTo>
                  <a:lnTo>
                    <a:pt x="1057" y="1108"/>
                  </a:lnTo>
                  <a:lnTo>
                    <a:pt x="1038" y="1102"/>
                  </a:lnTo>
                  <a:lnTo>
                    <a:pt x="1023" y="1093"/>
                  </a:lnTo>
                  <a:lnTo>
                    <a:pt x="1012" y="1082"/>
                  </a:lnTo>
                  <a:lnTo>
                    <a:pt x="1003" y="1069"/>
                  </a:lnTo>
                  <a:lnTo>
                    <a:pt x="996" y="1054"/>
                  </a:lnTo>
                  <a:lnTo>
                    <a:pt x="991" y="1023"/>
                  </a:lnTo>
                  <a:lnTo>
                    <a:pt x="991" y="846"/>
                  </a:lnTo>
                  <a:lnTo>
                    <a:pt x="924" y="846"/>
                  </a:lnTo>
                  <a:lnTo>
                    <a:pt x="924" y="801"/>
                  </a:lnTo>
                  <a:lnTo>
                    <a:pt x="991" y="801"/>
                  </a:lnTo>
                  <a:lnTo>
                    <a:pt x="991" y="722"/>
                  </a:lnTo>
                  <a:lnTo>
                    <a:pt x="1043" y="709"/>
                  </a:lnTo>
                  <a:lnTo>
                    <a:pt x="1043" y="801"/>
                  </a:lnTo>
                  <a:lnTo>
                    <a:pt x="1131" y="801"/>
                  </a:lnTo>
                  <a:lnTo>
                    <a:pt x="1131" y="846"/>
                  </a:lnTo>
                  <a:lnTo>
                    <a:pt x="1043" y="846"/>
                  </a:lnTo>
                  <a:lnTo>
                    <a:pt x="1043" y="1017"/>
                  </a:lnTo>
                  <a:lnTo>
                    <a:pt x="1046" y="1037"/>
                  </a:lnTo>
                  <a:lnTo>
                    <a:pt x="1049" y="1046"/>
                  </a:lnTo>
                  <a:lnTo>
                    <a:pt x="1055" y="1052"/>
                  </a:lnTo>
                  <a:lnTo>
                    <a:pt x="1061" y="1057"/>
                  </a:lnTo>
                  <a:lnTo>
                    <a:pt x="1070" y="1060"/>
                  </a:lnTo>
                  <a:lnTo>
                    <a:pt x="1088" y="1063"/>
                  </a:lnTo>
                  <a:lnTo>
                    <a:pt x="1113" y="1062"/>
                  </a:lnTo>
                  <a:lnTo>
                    <a:pt x="1133" y="1057"/>
                  </a:lnTo>
                  <a:lnTo>
                    <a:pt x="1133" y="1101"/>
                  </a:lnTo>
                  <a:lnTo>
                    <a:pt x="1112" y="1107"/>
                  </a:lnTo>
                  <a:lnTo>
                    <a:pt x="1080" y="1111"/>
                  </a:lnTo>
                  <a:close/>
                  <a:moveTo>
                    <a:pt x="840" y="1111"/>
                  </a:moveTo>
                  <a:lnTo>
                    <a:pt x="819" y="1108"/>
                  </a:lnTo>
                  <a:lnTo>
                    <a:pt x="800" y="1102"/>
                  </a:lnTo>
                  <a:lnTo>
                    <a:pt x="784" y="1093"/>
                  </a:lnTo>
                  <a:lnTo>
                    <a:pt x="772" y="1082"/>
                  </a:lnTo>
                  <a:lnTo>
                    <a:pt x="763" y="1069"/>
                  </a:lnTo>
                  <a:lnTo>
                    <a:pt x="758" y="1054"/>
                  </a:lnTo>
                  <a:lnTo>
                    <a:pt x="753" y="1023"/>
                  </a:lnTo>
                  <a:lnTo>
                    <a:pt x="753" y="846"/>
                  </a:lnTo>
                  <a:lnTo>
                    <a:pt x="686" y="846"/>
                  </a:lnTo>
                  <a:lnTo>
                    <a:pt x="686" y="801"/>
                  </a:lnTo>
                  <a:lnTo>
                    <a:pt x="753" y="801"/>
                  </a:lnTo>
                  <a:lnTo>
                    <a:pt x="753" y="722"/>
                  </a:lnTo>
                  <a:lnTo>
                    <a:pt x="804" y="709"/>
                  </a:lnTo>
                  <a:lnTo>
                    <a:pt x="804" y="801"/>
                  </a:lnTo>
                  <a:lnTo>
                    <a:pt x="891" y="801"/>
                  </a:lnTo>
                  <a:lnTo>
                    <a:pt x="891" y="846"/>
                  </a:lnTo>
                  <a:lnTo>
                    <a:pt x="804" y="846"/>
                  </a:lnTo>
                  <a:lnTo>
                    <a:pt x="804" y="1017"/>
                  </a:lnTo>
                  <a:lnTo>
                    <a:pt x="808" y="1037"/>
                  </a:lnTo>
                  <a:lnTo>
                    <a:pt x="811" y="1046"/>
                  </a:lnTo>
                  <a:lnTo>
                    <a:pt x="817" y="1052"/>
                  </a:lnTo>
                  <a:lnTo>
                    <a:pt x="823" y="1057"/>
                  </a:lnTo>
                  <a:lnTo>
                    <a:pt x="830" y="1060"/>
                  </a:lnTo>
                  <a:lnTo>
                    <a:pt x="849" y="1063"/>
                  </a:lnTo>
                  <a:lnTo>
                    <a:pt x="875" y="1062"/>
                  </a:lnTo>
                  <a:lnTo>
                    <a:pt x="895" y="1057"/>
                  </a:lnTo>
                  <a:lnTo>
                    <a:pt x="895" y="1101"/>
                  </a:lnTo>
                  <a:lnTo>
                    <a:pt x="874" y="1107"/>
                  </a:lnTo>
                  <a:lnTo>
                    <a:pt x="840" y="1111"/>
                  </a:lnTo>
                  <a:close/>
                  <a:moveTo>
                    <a:pt x="430" y="927"/>
                  </a:moveTo>
                  <a:lnTo>
                    <a:pt x="598" y="927"/>
                  </a:lnTo>
                  <a:lnTo>
                    <a:pt x="596" y="908"/>
                  </a:lnTo>
                  <a:lnTo>
                    <a:pt x="592" y="891"/>
                  </a:lnTo>
                  <a:lnTo>
                    <a:pt x="586" y="875"/>
                  </a:lnTo>
                  <a:lnTo>
                    <a:pt x="576" y="862"/>
                  </a:lnTo>
                  <a:lnTo>
                    <a:pt x="565" y="852"/>
                  </a:lnTo>
                  <a:lnTo>
                    <a:pt x="550" y="843"/>
                  </a:lnTo>
                  <a:lnTo>
                    <a:pt x="534" y="839"/>
                  </a:lnTo>
                  <a:lnTo>
                    <a:pt x="515" y="838"/>
                  </a:lnTo>
                  <a:lnTo>
                    <a:pt x="495" y="839"/>
                  </a:lnTo>
                  <a:lnTo>
                    <a:pt x="477" y="845"/>
                  </a:lnTo>
                  <a:lnTo>
                    <a:pt x="463" y="853"/>
                  </a:lnTo>
                  <a:lnTo>
                    <a:pt x="451" y="865"/>
                  </a:lnTo>
                  <a:lnTo>
                    <a:pt x="443" y="879"/>
                  </a:lnTo>
                  <a:lnTo>
                    <a:pt x="435" y="894"/>
                  </a:lnTo>
                  <a:lnTo>
                    <a:pt x="431" y="911"/>
                  </a:lnTo>
                  <a:lnTo>
                    <a:pt x="430" y="927"/>
                  </a:lnTo>
                  <a:close/>
                  <a:moveTo>
                    <a:pt x="520" y="1115"/>
                  </a:moveTo>
                  <a:lnTo>
                    <a:pt x="488" y="1112"/>
                  </a:lnTo>
                  <a:lnTo>
                    <a:pt x="459" y="1102"/>
                  </a:lnTo>
                  <a:lnTo>
                    <a:pt x="434" y="1088"/>
                  </a:lnTo>
                  <a:lnTo>
                    <a:pt x="412" y="1069"/>
                  </a:lnTo>
                  <a:lnTo>
                    <a:pt x="396" y="1046"/>
                  </a:lnTo>
                  <a:lnTo>
                    <a:pt x="383" y="1018"/>
                  </a:lnTo>
                  <a:lnTo>
                    <a:pt x="376" y="988"/>
                  </a:lnTo>
                  <a:lnTo>
                    <a:pt x="374" y="956"/>
                  </a:lnTo>
                  <a:lnTo>
                    <a:pt x="376" y="929"/>
                  </a:lnTo>
                  <a:lnTo>
                    <a:pt x="380" y="904"/>
                  </a:lnTo>
                  <a:lnTo>
                    <a:pt x="388" y="879"/>
                  </a:lnTo>
                  <a:lnTo>
                    <a:pt x="398" y="858"/>
                  </a:lnTo>
                  <a:lnTo>
                    <a:pt x="418" y="833"/>
                  </a:lnTo>
                  <a:lnTo>
                    <a:pt x="446" y="811"/>
                  </a:lnTo>
                  <a:lnTo>
                    <a:pt x="462" y="804"/>
                  </a:lnTo>
                  <a:lnTo>
                    <a:pt x="477" y="798"/>
                  </a:lnTo>
                  <a:lnTo>
                    <a:pt x="517" y="794"/>
                  </a:lnTo>
                  <a:lnTo>
                    <a:pt x="546" y="797"/>
                  </a:lnTo>
                  <a:lnTo>
                    <a:pt x="560" y="800"/>
                  </a:lnTo>
                  <a:lnTo>
                    <a:pt x="572" y="806"/>
                  </a:lnTo>
                  <a:lnTo>
                    <a:pt x="595" y="819"/>
                  </a:lnTo>
                  <a:lnTo>
                    <a:pt x="615" y="838"/>
                  </a:lnTo>
                  <a:lnTo>
                    <a:pt x="630" y="859"/>
                  </a:lnTo>
                  <a:lnTo>
                    <a:pt x="641" y="884"/>
                  </a:lnTo>
                  <a:lnTo>
                    <a:pt x="649" y="911"/>
                  </a:lnTo>
                  <a:lnTo>
                    <a:pt x="650" y="940"/>
                  </a:lnTo>
                  <a:lnTo>
                    <a:pt x="649" y="972"/>
                  </a:lnTo>
                  <a:lnTo>
                    <a:pt x="428" y="972"/>
                  </a:lnTo>
                  <a:lnTo>
                    <a:pt x="430" y="992"/>
                  </a:lnTo>
                  <a:lnTo>
                    <a:pt x="434" y="1011"/>
                  </a:lnTo>
                  <a:lnTo>
                    <a:pt x="441" y="1027"/>
                  </a:lnTo>
                  <a:lnTo>
                    <a:pt x="453" y="1041"/>
                  </a:lnTo>
                  <a:lnTo>
                    <a:pt x="466" y="1053"/>
                  </a:lnTo>
                  <a:lnTo>
                    <a:pt x="482" y="1062"/>
                  </a:lnTo>
                  <a:lnTo>
                    <a:pt x="499" y="1067"/>
                  </a:lnTo>
                  <a:lnTo>
                    <a:pt x="521" y="1070"/>
                  </a:lnTo>
                  <a:lnTo>
                    <a:pt x="546" y="1066"/>
                  </a:lnTo>
                  <a:lnTo>
                    <a:pt x="566" y="1056"/>
                  </a:lnTo>
                  <a:lnTo>
                    <a:pt x="576" y="1049"/>
                  </a:lnTo>
                  <a:lnTo>
                    <a:pt x="583" y="1040"/>
                  </a:lnTo>
                  <a:lnTo>
                    <a:pt x="595" y="1015"/>
                  </a:lnTo>
                  <a:lnTo>
                    <a:pt x="646" y="1015"/>
                  </a:lnTo>
                  <a:lnTo>
                    <a:pt x="640" y="1037"/>
                  </a:lnTo>
                  <a:lnTo>
                    <a:pt x="631" y="1056"/>
                  </a:lnTo>
                  <a:lnTo>
                    <a:pt x="618" y="1073"/>
                  </a:lnTo>
                  <a:lnTo>
                    <a:pt x="604" y="1088"/>
                  </a:lnTo>
                  <a:lnTo>
                    <a:pt x="585" y="1099"/>
                  </a:lnTo>
                  <a:lnTo>
                    <a:pt x="565" y="1108"/>
                  </a:lnTo>
                  <a:lnTo>
                    <a:pt x="543" y="1114"/>
                  </a:lnTo>
                  <a:lnTo>
                    <a:pt x="520" y="1115"/>
                  </a:lnTo>
                  <a:close/>
                  <a:moveTo>
                    <a:pt x="55" y="861"/>
                  </a:moveTo>
                  <a:lnTo>
                    <a:pt x="174" y="861"/>
                  </a:lnTo>
                  <a:lnTo>
                    <a:pt x="190" y="861"/>
                  </a:lnTo>
                  <a:lnTo>
                    <a:pt x="205" y="858"/>
                  </a:lnTo>
                  <a:lnTo>
                    <a:pt x="218" y="852"/>
                  </a:lnTo>
                  <a:lnTo>
                    <a:pt x="229" y="845"/>
                  </a:lnTo>
                  <a:lnTo>
                    <a:pt x="238" y="835"/>
                  </a:lnTo>
                  <a:lnTo>
                    <a:pt x="245" y="823"/>
                  </a:lnTo>
                  <a:lnTo>
                    <a:pt x="250" y="810"/>
                  </a:lnTo>
                  <a:lnTo>
                    <a:pt x="251" y="794"/>
                  </a:lnTo>
                  <a:lnTo>
                    <a:pt x="250" y="778"/>
                  </a:lnTo>
                  <a:lnTo>
                    <a:pt x="244" y="764"/>
                  </a:lnTo>
                  <a:lnTo>
                    <a:pt x="238" y="752"/>
                  </a:lnTo>
                  <a:lnTo>
                    <a:pt x="228" y="744"/>
                  </a:lnTo>
                  <a:lnTo>
                    <a:pt x="216" y="736"/>
                  </a:lnTo>
                  <a:lnTo>
                    <a:pt x="203" y="731"/>
                  </a:lnTo>
                  <a:lnTo>
                    <a:pt x="189" y="728"/>
                  </a:lnTo>
                  <a:lnTo>
                    <a:pt x="173" y="726"/>
                  </a:lnTo>
                  <a:lnTo>
                    <a:pt x="55" y="726"/>
                  </a:lnTo>
                  <a:lnTo>
                    <a:pt x="55" y="861"/>
                  </a:lnTo>
                  <a:close/>
                  <a:moveTo>
                    <a:pt x="55" y="1057"/>
                  </a:moveTo>
                  <a:lnTo>
                    <a:pt x="176" y="1057"/>
                  </a:lnTo>
                  <a:lnTo>
                    <a:pt x="209" y="1053"/>
                  </a:lnTo>
                  <a:lnTo>
                    <a:pt x="222" y="1047"/>
                  </a:lnTo>
                  <a:lnTo>
                    <a:pt x="235" y="1040"/>
                  </a:lnTo>
                  <a:lnTo>
                    <a:pt x="245" y="1028"/>
                  </a:lnTo>
                  <a:lnTo>
                    <a:pt x="254" y="1017"/>
                  </a:lnTo>
                  <a:lnTo>
                    <a:pt x="258" y="1001"/>
                  </a:lnTo>
                  <a:lnTo>
                    <a:pt x="260" y="984"/>
                  </a:lnTo>
                  <a:lnTo>
                    <a:pt x="258" y="966"/>
                  </a:lnTo>
                  <a:lnTo>
                    <a:pt x="254" y="952"/>
                  </a:lnTo>
                  <a:lnTo>
                    <a:pt x="245" y="939"/>
                  </a:lnTo>
                  <a:lnTo>
                    <a:pt x="235" y="929"/>
                  </a:lnTo>
                  <a:lnTo>
                    <a:pt x="224" y="920"/>
                  </a:lnTo>
                  <a:lnTo>
                    <a:pt x="209" y="913"/>
                  </a:lnTo>
                  <a:lnTo>
                    <a:pt x="193" y="910"/>
                  </a:lnTo>
                  <a:lnTo>
                    <a:pt x="176" y="908"/>
                  </a:lnTo>
                  <a:lnTo>
                    <a:pt x="55" y="908"/>
                  </a:lnTo>
                  <a:lnTo>
                    <a:pt x="55" y="1057"/>
                  </a:lnTo>
                  <a:close/>
                  <a:moveTo>
                    <a:pt x="1" y="1107"/>
                  </a:moveTo>
                  <a:lnTo>
                    <a:pt x="1" y="678"/>
                  </a:lnTo>
                  <a:lnTo>
                    <a:pt x="177" y="678"/>
                  </a:lnTo>
                  <a:lnTo>
                    <a:pt x="205" y="681"/>
                  </a:lnTo>
                  <a:lnTo>
                    <a:pt x="229" y="687"/>
                  </a:lnTo>
                  <a:lnTo>
                    <a:pt x="251" y="696"/>
                  </a:lnTo>
                  <a:lnTo>
                    <a:pt x="270" y="709"/>
                  </a:lnTo>
                  <a:lnTo>
                    <a:pt x="284" y="725"/>
                  </a:lnTo>
                  <a:lnTo>
                    <a:pt x="296" y="744"/>
                  </a:lnTo>
                  <a:lnTo>
                    <a:pt x="303" y="765"/>
                  </a:lnTo>
                  <a:lnTo>
                    <a:pt x="306" y="790"/>
                  </a:lnTo>
                  <a:lnTo>
                    <a:pt x="302" y="819"/>
                  </a:lnTo>
                  <a:lnTo>
                    <a:pt x="290" y="846"/>
                  </a:lnTo>
                  <a:lnTo>
                    <a:pt x="282" y="859"/>
                  </a:lnTo>
                  <a:lnTo>
                    <a:pt x="270" y="869"/>
                  </a:lnTo>
                  <a:lnTo>
                    <a:pt x="258" y="878"/>
                  </a:lnTo>
                  <a:lnTo>
                    <a:pt x="244" y="884"/>
                  </a:lnTo>
                  <a:lnTo>
                    <a:pt x="260" y="891"/>
                  </a:lnTo>
                  <a:lnTo>
                    <a:pt x="274" y="900"/>
                  </a:lnTo>
                  <a:lnTo>
                    <a:pt x="286" y="911"/>
                  </a:lnTo>
                  <a:lnTo>
                    <a:pt x="296" y="924"/>
                  </a:lnTo>
                  <a:lnTo>
                    <a:pt x="305" y="939"/>
                  </a:lnTo>
                  <a:lnTo>
                    <a:pt x="311" y="955"/>
                  </a:lnTo>
                  <a:lnTo>
                    <a:pt x="313" y="971"/>
                  </a:lnTo>
                  <a:lnTo>
                    <a:pt x="315" y="986"/>
                  </a:lnTo>
                  <a:lnTo>
                    <a:pt x="313" y="1013"/>
                  </a:lnTo>
                  <a:lnTo>
                    <a:pt x="305" y="1037"/>
                  </a:lnTo>
                  <a:lnTo>
                    <a:pt x="293" y="1057"/>
                  </a:lnTo>
                  <a:lnTo>
                    <a:pt x="277" y="1075"/>
                  </a:lnTo>
                  <a:lnTo>
                    <a:pt x="257" y="1088"/>
                  </a:lnTo>
                  <a:lnTo>
                    <a:pt x="234" y="1098"/>
                  </a:lnTo>
                  <a:lnTo>
                    <a:pt x="208" y="1105"/>
                  </a:lnTo>
                  <a:lnTo>
                    <a:pt x="179" y="1107"/>
                  </a:lnTo>
                  <a:lnTo>
                    <a:pt x="1" y="1107"/>
                  </a:lnTo>
                  <a:close/>
                  <a:moveTo>
                    <a:pt x="177" y="446"/>
                  </a:moveTo>
                  <a:lnTo>
                    <a:pt x="144" y="443"/>
                  </a:lnTo>
                  <a:lnTo>
                    <a:pt x="128" y="438"/>
                  </a:lnTo>
                  <a:lnTo>
                    <a:pt x="113" y="434"/>
                  </a:lnTo>
                  <a:lnTo>
                    <a:pt x="84" y="421"/>
                  </a:lnTo>
                  <a:lnTo>
                    <a:pt x="60" y="401"/>
                  </a:lnTo>
                  <a:lnTo>
                    <a:pt x="42" y="383"/>
                  </a:lnTo>
                  <a:lnTo>
                    <a:pt x="29" y="363"/>
                  </a:lnTo>
                  <a:lnTo>
                    <a:pt x="19" y="343"/>
                  </a:lnTo>
                  <a:lnTo>
                    <a:pt x="12" y="320"/>
                  </a:lnTo>
                  <a:lnTo>
                    <a:pt x="6" y="297"/>
                  </a:lnTo>
                  <a:lnTo>
                    <a:pt x="3" y="274"/>
                  </a:lnTo>
                  <a:lnTo>
                    <a:pt x="0" y="223"/>
                  </a:lnTo>
                  <a:lnTo>
                    <a:pt x="1" y="198"/>
                  </a:lnTo>
                  <a:lnTo>
                    <a:pt x="3" y="174"/>
                  </a:lnTo>
                  <a:lnTo>
                    <a:pt x="6" y="149"/>
                  </a:lnTo>
                  <a:lnTo>
                    <a:pt x="12" y="126"/>
                  </a:lnTo>
                  <a:lnTo>
                    <a:pt x="19" y="104"/>
                  </a:lnTo>
                  <a:lnTo>
                    <a:pt x="29" y="84"/>
                  </a:lnTo>
                  <a:lnTo>
                    <a:pt x="42" y="64"/>
                  </a:lnTo>
                  <a:lnTo>
                    <a:pt x="60" y="46"/>
                  </a:lnTo>
                  <a:lnTo>
                    <a:pt x="71" y="36"/>
                  </a:lnTo>
                  <a:lnTo>
                    <a:pt x="84" y="26"/>
                  </a:lnTo>
                  <a:lnTo>
                    <a:pt x="113" y="12"/>
                  </a:lnTo>
                  <a:lnTo>
                    <a:pt x="144" y="3"/>
                  </a:lnTo>
                  <a:lnTo>
                    <a:pt x="177" y="0"/>
                  </a:lnTo>
                  <a:lnTo>
                    <a:pt x="208" y="3"/>
                  </a:lnTo>
                  <a:lnTo>
                    <a:pt x="238" y="10"/>
                  </a:lnTo>
                  <a:lnTo>
                    <a:pt x="251" y="16"/>
                  </a:lnTo>
                  <a:lnTo>
                    <a:pt x="264" y="23"/>
                  </a:lnTo>
                  <a:lnTo>
                    <a:pt x="276" y="32"/>
                  </a:lnTo>
                  <a:lnTo>
                    <a:pt x="287" y="41"/>
                  </a:lnTo>
                  <a:lnTo>
                    <a:pt x="308" y="61"/>
                  </a:lnTo>
                  <a:lnTo>
                    <a:pt x="322" y="86"/>
                  </a:lnTo>
                  <a:lnTo>
                    <a:pt x="332" y="113"/>
                  </a:lnTo>
                  <a:lnTo>
                    <a:pt x="337" y="143"/>
                  </a:lnTo>
                  <a:lnTo>
                    <a:pt x="282" y="143"/>
                  </a:lnTo>
                  <a:lnTo>
                    <a:pt x="279" y="123"/>
                  </a:lnTo>
                  <a:lnTo>
                    <a:pt x="271" y="106"/>
                  </a:lnTo>
                  <a:lnTo>
                    <a:pt x="263" y="90"/>
                  </a:lnTo>
                  <a:lnTo>
                    <a:pt x="250" y="77"/>
                  </a:lnTo>
                  <a:lnTo>
                    <a:pt x="234" y="65"/>
                  </a:lnTo>
                  <a:lnTo>
                    <a:pt x="216" y="58"/>
                  </a:lnTo>
                  <a:lnTo>
                    <a:pt x="197" y="52"/>
                  </a:lnTo>
                  <a:lnTo>
                    <a:pt x="177" y="51"/>
                  </a:lnTo>
                  <a:lnTo>
                    <a:pt x="154" y="54"/>
                  </a:lnTo>
                  <a:lnTo>
                    <a:pt x="132" y="59"/>
                  </a:lnTo>
                  <a:lnTo>
                    <a:pt x="113" y="70"/>
                  </a:lnTo>
                  <a:lnTo>
                    <a:pt x="96" y="84"/>
                  </a:lnTo>
                  <a:lnTo>
                    <a:pt x="84" y="99"/>
                  </a:lnTo>
                  <a:lnTo>
                    <a:pt x="74" y="114"/>
                  </a:lnTo>
                  <a:lnTo>
                    <a:pt x="67" y="132"/>
                  </a:lnTo>
                  <a:lnTo>
                    <a:pt x="65" y="142"/>
                  </a:lnTo>
                  <a:lnTo>
                    <a:pt x="62" y="151"/>
                  </a:lnTo>
                  <a:lnTo>
                    <a:pt x="57" y="188"/>
                  </a:lnTo>
                  <a:lnTo>
                    <a:pt x="55" y="223"/>
                  </a:lnTo>
                  <a:lnTo>
                    <a:pt x="57" y="259"/>
                  </a:lnTo>
                  <a:lnTo>
                    <a:pt x="62" y="295"/>
                  </a:lnTo>
                  <a:lnTo>
                    <a:pt x="74" y="331"/>
                  </a:lnTo>
                  <a:lnTo>
                    <a:pt x="84" y="347"/>
                  </a:lnTo>
                  <a:lnTo>
                    <a:pt x="96" y="362"/>
                  </a:lnTo>
                  <a:lnTo>
                    <a:pt x="113" y="376"/>
                  </a:lnTo>
                  <a:lnTo>
                    <a:pt x="134" y="386"/>
                  </a:lnTo>
                  <a:lnTo>
                    <a:pt x="155" y="392"/>
                  </a:lnTo>
                  <a:lnTo>
                    <a:pt x="177" y="395"/>
                  </a:lnTo>
                  <a:lnTo>
                    <a:pt x="199" y="392"/>
                  </a:lnTo>
                  <a:lnTo>
                    <a:pt x="219" y="388"/>
                  </a:lnTo>
                  <a:lnTo>
                    <a:pt x="237" y="379"/>
                  </a:lnTo>
                  <a:lnTo>
                    <a:pt x="251" y="369"/>
                  </a:lnTo>
                  <a:lnTo>
                    <a:pt x="263" y="355"/>
                  </a:lnTo>
                  <a:lnTo>
                    <a:pt x="273" y="339"/>
                  </a:lnTo>
                  <a:lnTo>
                    <a:pt x="279" y="321"/>
                  </a:lnTo>
                  <a:lnTo>
                    <a:pt x="282" y="300"/>
                  </a:lnTo>
                  <a:lnTo>
                    <a:pt x="337" y="300"/>
                  </a:lnTo>
                  <a:lnTo>
                    <a:pt x="335" y="317"/>
                  </a:lnTo>
                  <a:lnTo>
                    <a:pt x="332" y="331"/>
                  </a:lnTo>
                  <a:lnTo>
                    <a:pt x="322" y="359"/>
                  </a:lnTo>
                  <a:lnTo>
                    <a:pt x="306" y="385"/>
                  </a:lnTo>
                  <a:lnTo>
                    <a:pt x="287" y="405"/>
                  </a:lnTo>
                  <a:lnTo>
                    <a:pt x="263" y="422"/>
                  </a:lnTo>
                  <a:lnTo>
                    <a:pt x="237" y="434"/>
                  </a:lnTo>
                  <a:lnTo>
                    <a:pt x="208" y="443"/>
                  </a:lnTo>
                  <a:lnTo>
                    <a:pt x="177" y="446"/>
                  </a:lnTo>
                  <a:close/>
                  <a:moveTo>
                    <a:pt x="408" y="0"/>
                  </a:moveTo>
                  <a:lnTo>
                    <a:pt x="460" y="0"/>
                  </a:lnTo>
                  <a:lnTo>
                    <a:pt x="460" y="172"/>
                  </a:lnTo>
                  <a:lnTo>
                    <a:pt x="467" y="161"/>
                  </a:lnTo>
                  <a:lnTo>
                    <a:pt x="477" y="151"/>
                  </a:lnTo>
                  <a:lnTo>
                    <a:pt x="499" y="136"/>
                  </a:lnTo>
                  <a:lnTo>
                    <a:pt x="525" y="126"/>
                  </a:lnTo>
                  <a:lnTo>
                    <a:pt x="551" y="123"/>
                  </a:lnTo>
                  <a:lnTo>
                    <a:pt x="576" y="126"/>
                  </a:lnTo>
                  <a:lnTo>
                    <a:pt x="598" y="132"/>
                  </a:lnTo>
                  <a:lnTo>
                    <a:pt x="617" y="140"/>
                  </a:lnTo>
                  <a:lnTo>
                    <a:pt x="631" y="153"/>
                  </a:lnTo>
                  <a:lnTo>
                    <a:pt x="643" y="169"/>
                  </a:lnTo>
                  <a:lnTo>
                    <a:pt x="652" y="188"/>
                  </a:lnTo>
                  <a:lnTo>
                    <a:pt x="657" y="210"/>
                  </a:lnTo>
                  <a:lnTo>
                    <a:pt x="659" y="236"/>
                  </a:lnTo>
                  <a:lnTo>
                    <a:pt x="659" y="437"/>
                  </a:lnTo>
                  <a:lnTo>
                    <a:pt x="608" y="437"/>
                  </a:lnTo>
                  <a:lnTo>
                    <a:pt x="608" y="243"/>
                  </a:lnTo>
                  <a:lnTo>
                    <a:pt x="607" y="227"/>
                  </a:lnTo>
                  <a:lnTo>
                    <a:pt x="604" y="213"/>
                  </a:lnTo>
                  <a:lnTo>
                    <a:pt x="592" y="190"/>
                  </a:lnTo>
                  <a:lnTo>
                    <a:pt x="582" y="181"/>
                  </a:lnTo>
                  <a:lnTo>
                    <a:pt x="570" y="175"/>
                  </a:lnTo>
                  <a:lnTo>
                    <a:pt x="557" y="171"/>
                  </a:lnTo>
                  <a:lnTo>
                    <a:pt x="541" y="169"/>
                  </a:lnTo>
                  <a:lnTo>
                    <a:pt x="522" y="172"/>
                  </a:lnTo>
                  <a:lnTo>
                    <a:pt x="507" y="178"/>
                  </a:lnTo>
                  <a:lnTo>
                    <a:pt x="492" y="187"/>
                  </a:lnTo>
                  <a:lnTo>
                    <a:pt x="486" y="193"/>
                  </a:lnTo>
                  <a:lnTo>
                    <a:pt x="480" y="200"/>
                  </a:lnTo>
                  <a:lnTo>
                    <a:pt x="472" y="214"/>
                  </a:lnTo>
                  <a:lnTo>
                    <a:pt x="464" y="233"/>
                  </a:lnTo>
                  <a:lnTo>
                    <a:pt x="462" y="252"/>
                  </a:lnTo>
                  <a:lnTo>
                    <a:pt x="460" y="274"/>
                  </a:lnTo>
                  <a:lnTo>
                    <a:pt x="460" y="437"/>
                  </a:lnTo>
                  <a:lnTo>
                    <a:pt x="408" y="437"/>
                  </a:lnTo>
                  <a:lnTo>
                    <a:pt x="408" y="0"/>
                  </a:lnTo>
                  <a:close/>
                  <a:moveTo>
                    <a:pt x="879" y="446"/>
                  </a:moveTo>
                  <a:lnTo>
                    <a:pt x="848" y="441"/>
                  </a:lnTo>
                  <a:lnTo>
                    <a:pt x="820" y="433"/>
                  </a:lnTo>
                  <a:lnTo>
                    <a:pt x="794" y="418"/>
                  </a:lnTo>
                  <a:lnTo>
                    <a:pt x="774" y="399"/>
                  </a:lnTo>
                  <a:lnTo>
                    <a:pt x="756" y="375"/>
                  </a:lnTo>
                  <a:lnTo>
                    <a:pt x="745" y="347"/>
                  </a:lnTo>
                  <a:lnTo>
                    <a:pt x="737" y="318"/>
                  </a:lnTo>
                  <a:lnTo>
                    <a:pt x="734" y="285"/>
                  </a:lnTo>
                  <a:lnTo>
                    <a:pt x="736" y="259"/>
                  </a:lnTo>
                  <a:lnTo>
                    <a:pt x="740" y="234"/>
                  </a:lnTo>
                  <a:lnTo>
                    <a:pt x="747" y="210"/>
                  </a:lnTo>
                  <a:lnTo>
                    <a:pt x="759" y="188"/>
                  </a:lnTo>
                  <a:lnTo>
                    <a:pt x="779" y="162"/>
                  </a:lnTo>
                  <a:lnTo>
                    <a:pt x="805" y="142"/>
                  </a:lnTo>
                  <a:lnTo>
                    <a:pt x="821" y="135"/>
                  </a:lnTo>
                  <a:lnTo>
                    <a:pt x="839" y="129"/>
                  </a:lnTo>
                  <a:lnTo>
                    <a:pt x="877" y="123"/>
                  </a:lnTo>
                  <a:lnTo>
                    <a:pt x="906" y="126"/>
                  </a:lnTo>
                  <a:lnTo>
                    <a:pt x="920" y="130"/>
                  </a:lnTo>
                  <a:lnTo>
                    <a:pt x="933" y="135"/>
                  </a:lnTo>
                  <a:lnTo>
                    <a:pt x="956" y="149"/>
                  </a:lnTo>
                  <a:lnTo>
                    <a:pt x="975" y="167"/>
                  </a:lnTo>
                  <a:lnTo>
                    <a:pt x="990" y="188"/>
                  </a:lnTo>
                  <a:lnTo>
                    <a:pt x="1001" y="214"/>
                  </a:lnTo>
                  <a:lnTo>
                    <a:pt x="1009" y="242"/>
                  </a:lnTo>
                  <a:lnTo>
                    <a:pt x="1012" y="271"/>
                  </a:lnTo>
                  <a:lnTo>
                    <a:pt x="1010" y="301"/>
                  </a:lnTo>
                  <a:lnTo>
                    <a:pt x="788" y="301"/>
                  </a:lnTo>
                  <a:lnTo>
                    <a:pt x="790" y="321"/>
                  </a:lnTo>
                  <a:lnTo>
                    <a:pt x="794" y="340"/>
                  </a:lnTo>
                  <a:lnTo>
                    <a:pt x="803" y="357"/>
                  </a:lnTo>
                  <a:lnTo>
                    <a:pt x="813" y="372"/>
                  </a:lnTo>
                  <a:lnTo>
                    <a:pt x="826" y="383"/>
                  </a:lnTo>
                  <a:lnTo>
                    <a:pt x="842" y="392"/>
                  </a:lnTo>
                  <a:lnTo>
                    <a:pt x="861" y="398"/>
                  </a:lnTo>
                  <a:lnTo>
                    <a:pt x="881" y="399"/>
                  </a:lnTo>
                  <a:lnTo>
                    <a:pt x="906" y="396"/>
                  </a:lnTo>
                  <a:lnTo>
                    <a:pt x="927" y="386"/>
                  </a:lnTo>
                  <a:lnTo>
                    <a:pt x="936" y="379"/>
                  </a:lnTo>
                  <a:lnTo>
                    <a:pt x="943" y="370"/>
                  </a:lnTo>
                  <a:lnTo>
                    <a:pt x="955" y="346"/>
                  </a:lnTo>
                  <a:lnTo>
                    <a:pt x="1006" y="346"/>
                  </a:lnTo>
                  <a:lnTo>
                    <a:pt x="1001" y="368"/>
                  </a:lnTo>
                  <a:lnTo>
                    <a:pt x="991" y="386"/>
                  </a:lnTo>
                  <a:lnTo>
                    <a:pt x="978" y="402"/>
                  </a:lnTo>
                  <a:lnTo>
                    <a:pt x="964" y="417"/>
                  </a:lnTo>
                  <a:lnTo>
                    <a:pt x="945" y="428"/>
                  </a:lnTo>
                  <a:lnTo>
                    <a:pt x="924" y="438"/>
                  </a:lnTo>
                  <a:lnTo>
                    <a:pt x="903" y="443"/>
                  </a:lnTo>
                  <a:lnTo>
                    <a:pt x="879" y="446"/>
                  </a:lnTo>
                  <a:close/>
                  <a:moveTo>
                    <a:pt x="790" y="258"/>
                  </a:moveTo>
                  <a:lnTo>
                    <a:pt x="958" y="258"/>
                  </a:lnTo>
                  <a:lnTo>
                    <a:pt x="956" y="239"/>
                  </a:lnTo>
                  <a:lnTo>
                    <a:pt x="953" y="221"/>
                  </a:lnTo>
                  <a:lnTo>
                    <a:pt x="946" y="206"/>
                  </a:lnTo>
                  <a:lnTo>
                    <a:pt x="938" y="193"/>
                  </a:lnTo>
                  <a:lnTo>
                    <a:pt x="924" y="182"/>
                  </a:lnTo>
                  <a:lnTo>
                    <a:pt x="911" y="174"/>
                  </a:lnTo>
                  <a:lnTo>
                    <a:pt x="894" y="169"/>
                  </a:lnTo>
                  <a:lnTo>
                    <a:pt x="875" y="167"/>
                  </a:lnTo>
                  <a:lnTo>
                    <a:pt x="855" y="169"/>
                  </a:lnTo>
                  <a:lnTo>
                    <a:pt x="839" y="175"/>
                  </a:lnTo>
                  <a:lnTo>
                    <a:pt x="824" y="184"/>
                  </a:lnTo>
                  <a:lnTo>
                    <a:pt x="811" y="195"/>
                  </a:lnTo>
                  <a:lnTo>
                    <a:pt x="803" y="210"/>
                  </a:lnTo>
                  <a:lnTo>
                    <a:pt x="795" y="224"/>
                  </a:lnTo>
                  <a:lnTo>
                    <a:pt x="791" y="240"/>
                  </a:lnTo>
                  <a:lnTo>
                    <a:pt x="790" y="258"/>
                  </a:lnTo>
                  <a:close/>
                  <a:moveTo>
                    <a:pt x="1088" y="437"/>
                  </a:moveTo>
                  <a:lnTo>
                    <a:pt x="1088" y="132"/>
                  </a:lnTo>
                  <a:lnTo>
                    <a:pt x="1133" y="132"/>
                  </a:lnTo>
                  <a:lnTo>
                    <a:pt x="1138" y="177"/>
                  </a:lnTo>
                  <a:lnTo>
                    <a:pt x="1145" y="164"/>
                  </a:lnTo>
                  <a:lnTo>
                    <a:pt x="1154" y="153"/>
                  </a:lnTo>
                  <a:lnTo>
                    <a:pt x="1164" y="145"/>
                  </a:lnTo>
                  <a:lnTo>
                    <a:pt x="1174" y="136"/>
                  </a:lnTo>
                  <a:lnTo>
                    <a:pt x="1199" y="127"/>
                  </a:lnTo>
                  <a:lnTo>
                    <a:pt x="1212" y="125"/>
                  </a:lnTo>
                  <a:lnTo>
                    <a:pt x="1225" y="123"/>
                  </a:lnTo>
                  <a:lnTo>
                    <a:pt x="1257" y="127"/>
                  </a:lnTo>
                  <a:lnTo>
                    <a:pt x="1271" y="132"/>
                  </a:lnTo>
                  <a:lnTo>
                    <a:pt x="1283" y="139"/>
                  </a:lnTo>
                  <a:lnTo>
                    <a:pt x="1295" y="146"/>
                  </a:lnTo>
                  <a:lnTo>
                    <a:pt x="1303" y="156"/>
                  </a:lnTo>
                  <a:lnTo>
                    <a:pt x="1311" y="168"/>
                  </a:lnTo>
                  <a:lnTo>
                    <a:pt x="1316" y="181"/>
                  </a:lnTo>
                  <a:lnTo>
                    <a:pt x="1324" y="168"/>
                  </a:lnTo>
                  <a:lnTo>
                    <a:pt x="1334" y="156"/>
                  </a:lnTo>
                  <a:lnTo>
                    <a:pt x="1357" y="138"/>
                  </a:lnTo>
                  <a:lnTo>
                    <a:pt x="1383" y="127"/>
                  </a:lnTo>
                  <a:lnTo>
                    <a:pt x="1412" y="123"/>
                  </a:lnTo>
                  <a:lnTo>
                    <a:pt x="1437" y="126"/>
                  </a:lnTo>
                  <a:lnTo>
                    <a:pt x="1459" y="132"/>
                  </a:lnTo>
                  <a:lnTo>
                    <a:pt x="1476" y="142"/>
                  </a:lnTo>
                  <a:lnTo>
                    <a:pt x="1490" y="155"/>
                  </a:lnTo>
                  <a:lnTo>
                    <a:pt x="1502" y="171"/>
                  </a:lnTo>
                  <a:lnTo>
                    <a:pt x="1509" y="190"/>
                  </a:lnTo>
                  <a:lnTo>
                    <a:pt x="1514" y="211"/>
                  </a:lnTo>
                  <a:lnTo>
                    <a:pt x="1515" y="236"/>
                  </a:lnTo>
                  <a:lnTo>
                    <a:pt x="1515" y="437"/>
                  </a:lnTo>
                  <a:lnTo>
                    <a:pt x="1464" y="437"/>
                  </a:lnTo>
                  <a:lnTo>
                    <a:pt x="1464" y="242"/>
                  </a:lnTo>
                  <a:lnTo>
                    <a:pt x="1461" y="213"/>
                  </a:lnTo>
                  <a:lnTo>
                    <a:pt x="1450" y="190"/>
                  </a:lnTo>
                  <a:lnTo>
                    <a:pt x="1441" y="182"/>
                  </a:lnTo>
                  <a:lnTo>
                    <a:pt x="1431" y="175"/>
                  </a:lnTo>
                  <a:lnTo>
                    <a:pt x="1418" y="171"/>
                  </a:lnTo>
                  <a:lnTo>
                    <a:pt x="1402" y="169"/>
                  </a:lnTo>
                  <a:lnTo>
                    <a:pt x="1386" y="172"/>
                  </a:lnTo>
                  <a:lnTo>
                    <a:pt x="1370" y="177"/>
                  </a:lnTo>
                  <a:lnTo>
                    <a:pt x="1358" y="185"/>
                  </a:lnTo>
                  <a:lnTo>
                    <a:pt x="1347" y="197"/>
                  </a:lnTo>
                  <a:lnTo>
                    <a:pt x="1338" y="210"/>
                  </a:lnTo>
                  <a:lnTo>
                    <a:pt x="1332" y="226"/>
                  </a:lnTo>
                  <a:lnTo>
                    <a:pt x="1328" y="243"/>
                  </a:lnTo>
                  <a:lnTo>
                    <a:pt x="1326" y="262"/>
                  </a:lnTo>
                  <a:lnTo>
                    <a:pt x="1326" y="437"/>
                  </a:lnTo>
                  <a:lnTo>
                    <a:pt x="1276" y="437"/>
                  </a:lnTo>
                  <a:lnTo>
                    <a:pt x="1276" y="245"/>
                  </a:lnTo>
                  <a:lnTo>
                    <a:pt x="1273" y="214"/>
                  </a:lnTo>
                  <a:lnTo>
                    <a:pt x="1268" y="203"/>
                  </a:lnTo>
                  <a:lnTo>
                    <a:pt x="1263" y="191"/>
                  </a:lnTo>
                  <a:lnTo>
                    <a:pt x="1254" y="182"/>
                  </a:lnTo>
                  <a:lnTo>
                    <a:pt x="1244" y="175"/>
                  </a:lnTo>
                  <a:lnTo>
                    <a:pt x="1231" y="171"/>
                  </a:lnTo>
                  <a:lnTo>
                    <a:pt x="1215" y="169"/>
                  </a:lnTo>
                  <a:lnTo>
                    <a:pt x="1199" y="172"/>
                  </a:lnTo>
                  <a:lnTo>
                    <a:pt x="1184" y="178"/>
                  </a:lnTo>
                  <a:lnTo>
                    <a:pt x="1171" y="187"/>
                  </a:lnTo>
                  <a:lnTo>
                    <a:pt x="1161" y="198"/>
                  </a:lnTo>
                  <a:lnTo>
                    <a:pt x="1152" y="211"/>
                  </a:lnTo>
                  <a:lnTo>
                    <a:pt x="1145" y="227"/>
                  </a:lnTo>
                  <a:lnTo>
                    <a:pt x="1141" y="245"/>
                  </a:lnTo>
                  <a:lnTo>
                    <a:pt x="1139" y="262"/>
                  </a:lnTo>
                  <a:lnTo>
                    <a:pt x="1139" y="437"/>
                  </a:lnTo>
                  <a:lnTo>
                    <a:pt x="1088" y="437"/>
                  </a:lnTo>
                  <a:close/>
                  <a:moveTo>
                    <a:pt x="1609" y="132"/>
                  </a:moveTo>
                  <a:lnTo>
                    <a:pt x="1663" y="132"/>
                  </a:lnTo>
                  <a:lnTo>
                    <a:pt x="1663" y="437"/>
                  </a:lnTo>
                  <a:lnTo>
                    <a:pt x="1609" y="437"/>
                  </a:lnTo>
                  <a:lnTo>
                    <a:pt x="1609" y="132"/>
                  </a:lnTo>
                  <a:close/>
                  <a:moveTo>
                    <a:pt x="1607" y="2"/>
                  </a:moveTo>
                  <a:lnTo>
                    <a:pt x="1666" y="2"/>
                  </a:lnTo>
                  <a:lnTo>
                    <a:pt x="1666" y="61"/>
                  </a:lnTo>
                  <a:lnTo>
                    <a:pt x="1607" y="61"/>
                  </a:lnTo>
                  <a:lnTo>
                    <a:pt x="1607" y="2"/>
                  </a:lnTo>
                  <a:close/>
                  <a:moveTo>
                    <a:pt x="1863" y="446"/>
                  </a:moveTo>
                  <a:lnTo>
                    <a:pt x="1837" y="443"/>
                  </a:lnTo>
                  <a:lnTo>
                    <a:pt x="1813" y="437"/>
                  </a:lnTo>
                  <a:lnTo>
                    <a:pt x="1791" y="428"/>
                  </a:lnTo>
                  <a:lnTo>
                    <a:pt x="1772" y="417"/>
                  </a:lnTo>
                  <a:lnTo>
                    <a:pt x="1757" y="402"/>
                  </a:lnTo>
                  <a:lnTo>
                    <a:pt x="1744" y="383"/>
                  </a:lnTo>
                  <a:lnTo>
                    <a:pt x="1737" y="363"/>
                  </a:lnTo>
                  <a:lnTo>
                    <a:pt x="1736" y="340"/>
                  </a:lnTo>
                  <a:lnTo>
                    <a:pt x="1787" y="340"/>
                  </a:lnTo>
                  <a:lnTo>
                    <a:pt x="1788" y="355"/>
                  </a:lnTo>
                  <a:lnTo>
                    <a:pt x="1794" y="368"/>
                  </a:lnTo>
                  <a:lnTo>
                    <a:pt x="1801" y="378"/>
                  </a:lnTo>
                  <a:lnTo>
                    <a:pt x="1810" y="386"/>
                  </a:lnTo>
                  <a:lnTo>
                    <a:pt x="1821" y="394"/>
                  </a:lnTo>
                  <a:lnTo>
                    <a:pt x="1834" y="398"/>
                  </a:lnTo>
                  <a:lnTo>
                    <a:pt x="1866" y="402"/>
                  </a:lnTo>
                  <a:lnTo>
                    <a:pt x="1894" y="399"/>
                  </a:lnTo>
                  <a:lnTo>
                    <a:pt x="1906" y="395"/>
                  </a:lnTo>
                  <a:lnTo>
                    <a:pt x="1916" y="389"/>
                  </a:lnTo>
                  <a:lnTo>
                    <a:pt x="1924" y="382"/>
                  </a:lnTo>
                  <a:lnTo>
                    <a:pt x="1932" y="373"/>
                  </a:lnTo>
                  <a:lnTo>
                    <a:pt x="1936" y="363"/>
                  </a:lnTo>
                  <a:lnTo>
                    <a:pt x="1937" y="352"/>
                  </a:lnTo>
                  <a:lnTo>
                    <a:pt x="1935" y="336"/>
                  </a:lnTo>
                  <a:lnTo>
                    <a:pt x="1926" y="324"/>
                  </a:lnTo>
                  <a:lnTo>
                    <a:pt x="1919" y="318"/>
                  </a:lnTo>
                  <a:lnTo>
                    <a:pt x="1910" y="314"/>
                  </a:lnTo>
                  <a:lnTo>
                    <a:pt x="1890" y="310"/>
                  </a:lnTo>
                  <a:lnTo>
                    <a:pt x="1821" y="298"/>
                  </a:lnTo>
                  <a:lnTo>
                    <a:pt x="1805" y="295"/>
                  </a:lnTo>
                  <a:lnTo>
                    <a:pt x="1791" y="289"/>
                  </a:lnTo>
                  <a:lnTo>
                    <a:pt x="1778" y="282"/>
                  </a:lnTo>
                  <a:lnTo>
                    <a:pt x="1768" y="272"/>
                  </a:lnTo>
                  <a:lnTo>
                    <a:pt x="1757" y="262"/>
                  </a:lnTo>
                  <a:lnTo>
                    <a:pt x="1752" y="249"/>
                  </a:lnTo>
                  <a:lnTo>
                    <a:pt x="1747" y="233"/>
                  </a:lnTo>
                  <a:lnTo>
                    <a:pt x="1746" y="217"/>
                  </a:lnTo>
                  <a:lnTo>
                    <a:pt x="1749" y="197"/>
                  </a:lnTo>
                  <a:lnTo>
                    <a:pt x="1756" y="180"/>
                  </a:lnTo>
                  <a:lnTo>
                    <a:pt x="1766" y="164"/>
                  </a:lnTo>
                  <a:lnTo>
                    <a:pt x="1773" y="156"/>
                  </a:lnTo>
                  <a:lnTo>
                    <a:pt x="1781" y="149"/>
                  </a:lnTo>
                  <a:lnTo>
                    <a:pt x="1798" y="139"/>
                  </a:lnTo>
                  <a:lnTo>
                    <a:pt x="1818" y="130"/>
                  </a:lnTo>
                  <a:lnTo>
                    <a:pt x="1839" y="126"/>
                  </a:lnTo>
                  <a:lnTo>
                    <a:pt x="1862" y="123"/>
                  </a:lnTo>
                  <a:lnTo>
                    <a:pt x="1887" y="126"/>
                  </a:lnTo>
                  <a:lnTo>
                    <a:pt x="1908" y="130"/>
                  </a:lnTo>
                  <a:lnTo>
                    <a:pt x="1929" y="139"/>
                  </a:lnTo>
                  <a:lnTo>
                    <a:pt x="1946" y="151"/>
                  </a:lnTo>
                  <a:lnTo>
                    <a:pt x="1961" y="164"/>
                  </a:lnTo>
                  <a:lnTo>
                    <a:pt x="1972" y="181"/>
                  </a:lnTo>
                  <a:lnTo>
                    <a:pt x="1978" y="200"/>
                  </a:lnTo>
                  <a:lnTo>
                    <a:pt x="1981" y="220"/>
                  </a:lnTo>
                  <a:lnTo>
                    <a:pt x="1929" y="220"/>
                  </a:lnTo>
                  <a:lnTo>
                    <a:pt x="1927" y="208"/>
                  </a:lnTo>
                  <a:lnTo>
                    <a:pt x="1924" y="198"/>
                  </a:lnTo>
                  <a:lnTo>
                    <a:pt x="1917" y="188"/>
                  </a:lnTo>
                  <a:lnTo>
                    <a:pt x="1910" y="181"/>
                  </a:lnTo>
                  <a:lnTo>
                    <a:pt x="1900" y="175"/>
                  </a:lnTo>
                  <a:lnTo>
                    <a:pt x="1888" y="169"/>
                  </a:lnTo>
                  <a:lnTo>
                    <a:pt x="1862" y="167"/>
                  </a:lnTo>
                  <a:lnTo>
                    <a:pt x="1836" y="169"/>
                  </a:lnTo>
                  <a:lnTo>
                    <a:pt x="1824" y="174"/>
                  </a:lnTo>
                  <a:lnTo>
                    <a:pt x="1814" y="180"/>
                  </a:lnTo>
                  <a:lnTo>
                    <a:pt x="1800" y="194"/>
                  </a:lnTo>
                  <a:lnTo>
                    <a:pt x="1797" y="204"/>
                  </a:lnTo>
                  <a:lnTo>
                    <a:pt x="1795" y="214"/>
                  </a:lnTo>
                  <a:lnTo>
                    <a:pt x="1798" y="230"/>
                  </a:lnTo>
                  <a:lnTo>
                    <a:pt x="1807" y="240"/>
                  </a:lnTo>
                  <a:lnTo>
                    <a:pt x="1820" y="247"/>
                  </a:lnTo>
                  <a:lnTo>
                    <a:pt x="1837" y="253"/>
                  </a:lnTo>
                  <a:lnTo>
                    <a:pt x="1908" y="263"/>
                  </a:lnTo>
                  <a:lnTo>
                    <a:pt x="1924" y="268"/>
                  </a:lnTo>
                  <a:lnTo>
                    <a:pt x="1939" y="274"/>
                  </a:lnTo>
                  <a:lnTo>
                    <a:pt x="1953" y="282"/>
                  </a:lnTo>
                  <a:lnTo>
                    <a:pt x="1965" y="291"/>
                  </a:lnTo>
                  <a:lnTo>
                    <a:pt x="1975" y="302"/>
                  </a:lnTo>
                  <a:lnTo>
                    <a:pt x="1982" y="317"/>
                  </a:lnTo>
                  <a:lnTo>
                    <a:pt x="1987" y="331"/>
                  </a:lnTo>
                  <a:lnTo>
                    <a:pt x="1988" y="347"/>
                  </a:lnTo>
                  <a:lnTo>
                    <a:pt x="1985" y="370"/>
                  </a:lnTo>
                  <a:lnTo>
                    <a:pt x="1978" y="389"/>
                  </a:lnTo>
                  <a:lnTo>
                    <a:pt x="1966" y="407"/>
                  </a:lnTo>
                  <a:lnTo>
                    <a:pt x="1952" y="420"/>
                  </a:lnTo>
                  <a:lnTo>
                    <a:pt x="1933" y="431"/>
                  </a:lnTo>
                  <a:lnTo>
                    <a:pt x="1913" y="438"/>
                  </a:lnTo>
                  <a:lnTo>
                    <a:pt x="1890" y="443"/>
                  </a:lnTo>
                  <a:lnTo>
                    <a:pt x="1863" y="446"/>
                  </a:lnTo>
                  <a:close/>
                  <a:moveTo>
                    <a:pt x="2174" y="440"/>
                  </a:moveTo>
                  <a:lnTo>
                    <a:pt x="2151" y="438"/>
                  </a:lnTo>
                  <a:lnTo>
                    <a:pt x="2132" y="433"/>
                  </a:lnTo>
                  <a:lnTo>
                    <a:pt x="2117" y="424"/>
                  </a:lnTo>
                  <a:lnTo>
                    <a:pt x="2106" y="412"/>
                  </a:lnTo>
                  <a:lnTo>
                    <a:pt x="2097" y="399"/>
                  </a:lnTo>
                  <a:lnTo>
                    <a:pt x="2090" y="385"/>
                  </a:lnTo>
                  <a:lnTo>
                    <a:pt x="2085" y="353"/>
                  </a:lnTo>
                  <a:lnTo>
                    <a:pt x="2085" y="177"/>
                  </a:lnTo>
                  <a:lnTo>
                    <a:pt x="2019" y="177"/>
                  </a:lnTo>
                  <a:lnTo>
                    <a:pt x="2019" y="132"/>
                  </a:lnTo>
                  <a:lnTo>
                    <a:pt x="2085" y="132"/>
                  </a:lnTo>
                  <a:lnTo>
                    <a:pt x="2085" y="51"/>
                  </a:lnTo>
                  <a:lnTo>
                    <a:pt x="2138" y="39"/>
                  </a:lnTo>
                  <a:lnTo>
                    <a:pt x="2138" y="132"/>
                  </a:lnTo>
                  <a:lnTo>
                    <a:pt x="2225" y="132"/>
                  </a:lnTo>
                  <a:lnTo>
                    <a:pt x="2225" y="177"/>
                  </a:lnTo>
                  <a:lnTo>
                    <a:pt x="2138" y="177"/>
                  </a:lnTo>
                  <a:lnTo>
                    <a:pt x="2138" y="347"/>
                  </a:lnTo>
                  <a:lnTo>
                    <a:pt x="2141" y="368"/>
                  </a:lnTo>
                  <a:lnTo>
                    <a:pt x="2144" y="376"/>
                  </a:lnTo>
                  <a:lnTo>
                    <a:pt x="2149" y="382"/>
                  </a:lnTo>
                  <a:lnTo>
                    <a:pt x="2155" y="386"/>
                  </a:lnTo>
                  <a:lnTo>
                    <a:pt x="2164" y="391"/>
                  </a:lnTo>
                  <a:lnTo>
                    <a:pt x="2183" y="394"/>
                  </a:lnTo>
                  <a:lnTo>
                    <a:pt x="2207" y="391"/>
                  </a:lnTo>
                  <a:lnTo>
                    <a:pt x="2228" y="388"/>
                  </a:lnTo>
                  <a:lnTo>
                    <a:pt x="2228" y="431"/>
                  </a:lnTo>
                  <a:lnTo>
                    <a:pt x="2206" y="437"/>
                  </a:lnTo>
                  <a:lnTo>
                    <a:pt x="2174" y="440"/>
                  </a:lnTo>
                  <a:close/>
                  <a:moveTo>
                    <a:pt x="2294" y="437"/>
                  </a:moveTo>
                  <a:lnTo>
                    <a:pt x="2294" y="132"/>
                  </a:lnTo>
                  <a:lnTo>
                    <a:pt x="2341" y="132"/>
                  </a:lnTo>
                  <a:lnTo>
                    <a:pt x="2345" y="185"/>
                  </a:lnTo>
                  <a:lnTo>
                    <a:pt x="2351" y="171"/>
                  </a:lnTo>
                  <a:lnTo>
                    <a:pt x="2360" y="159"/>
                  </a:lnTo>
                  <a:lnTo>
                    <a:pt x="2370" y="151"/>
                  </a:lnTo>
                  <a:lnTo>
                    <a:pt x="2382" y="143"/>
                  </a:lnTo>
                  <a:lnTo>
                    <a:pt x="2408" y="133"/>
                  </a:lnTo>
                  <a:lnTo>
                    <a:pt x="2435" y="129"/>
                  </a:lnTo>
                  <a:lnTo>
                    <a:pt x="2460" y="132"/>
                  </a:lnTo>
                  <a:lnTo>
                    <a:pt x="2460" y="182"/>
                  </a:lnTo>
                  <a:lnTo>
                    <a:pt x="2435" y="180"/>
                  </a:lnTo>
                  <a:lnTo>
                    <a:pt x="2413" y="182"/>
                  </a:lnTo>
                  <a:lnTo>
                    <a:pt x="2393" y="188"/>
                  </a:lnTo>
                  <a:lnTo>
                    <a:pt x="2377" y="198"/>
                  </a:lnTo>
                  <a:lnTo>
                    <a:pt x="2366" y="213"/>
                  </a:lnTo>
                  <a:lnTo>
                    <a:pt x="2357" y="229"/>
                  </a:lnTo>
                  <a:lnTo>
                    <a:pt x="2351" y="247"/>
                  </a:lnTo>
                  <a:lnTo>
                    <a:pt x="2347" y="268"/>
                  </a:lnTo>
                  <a:lnTo>
                    <a:pt x="2345" y="289"/>
                  </a:lnTo>
                  <a:lnTo>
                    <a:pt x="2345" y="437"/>
                  </a:lnTo>
                  <a:lnTo>
                    <a:pt x="2294" y="437"/>
                  </a:lnTo>
                  <a:close/>
                  <a:moveTo>
                    <a:pt x="2534" y="571"/>
                  </a:moveTo>
                  <a:lnTo>
                    <a:pt x="2506" y="569"/>
                  </a:lnTo>
                  <a:lnTo>
                    <a:pt x="2489" y="563"/>
                  </a:lnTo>
                  <a:lnTo>
                    <a:pt x="2489" y="519"/>
                  </a:lnTo>
                  <a:lnTo>
                    <a:pt x="2506" y="524"/>
                  </a:lnTo>
                  <a:lnTo>
                    <a:pt x="2525" y="527"/>
                  </a:lnTo>
                  <a:lnTo>
                    <a:pt x="2543" y="525"/>
                  </a:lnTo>
                  <a:lnTo>
                    <a:pt x="2559" y="519"/>
                  </a:lnTo>
                  <a:lnTo>
                    <a:pt x="2572" y="506"/>
                  </a:lnTo>
                  <a:lnTo>
                    <a:pt x="2583" y="483"/>
                  </a:lnTo>
                  <a:lnTo>
                    <a:pt x="2602" y="437"/>
                  </a:lnTo>
                  <a:lnTo>
                    <a:pt x="2479" y="132"/>
                  </a:lnTo>
                  <a:lnTo>
                    <a:pt x="2538" y="132"/>
                  </a:lnTo>
                  <a:lnTo>
                    <a:pt x="2627" y="372"/>
                  </a:lnTo>
                  <a:lnTo>
                    <a:pt x="2712" y="132"/>
                  </a:lnTo>
                  <a:lnTo>
                    <a:pt x="2768" y="132"/>
                  </a:lnTo>
                  <a:lnTo>
                    <a:pt x="2631" y="495"/>
                  </a:lnTo>
                  <a:lnTo>
                    <a:pt x="2624" y="514"/>
                  </a:lnTo>
                  <a:lnTo>
                    <a:pt x="2615" y="529"/>
                  </a:lnTo>
                  <a:lnTo>
                    <a:pt x="2605" y="543"/>
                  </a:lnTo>
                  <a:lnTo>
                    <a:pt x="2593" y="553"/>
                  </a:lnTo>
                  <a:lnTo>
                    <a:pt x="2580" y="561"/>
                  </a:lnTo>
                  <a:lnTo>
                    <a:pt x="2567" y="567"/>
                  </a:lnTo>
                  <a:lnTo>
                    <a:pt x="2534" y="571"/>
                  </a:lnTo>
                  <a:close/>
                  <a:moveTo>
                    <a:pt x="3270" y="132"/>
                  </a:moveTo>
                  <a:lnTo>
                    <a:pt x="3322" y="132"/>
                  </a:lnTo>
                  <a:lnTo>
                    <a:pt x="3239" y="437"/>
                  </a:lnTo>
                  <a:lnTo>
                    <a:pt x="3190" y="437"/>
                  </a:lnTo>
                  <a:lnTo>
                    <a:pt x="3109" y="200"/>
                  </a:lnTo>
                  <a:lnTo>
                    <a:pt x="3023" y="437"/>
                  </a:lnTo>
                  <a:lnTo>
                    <a:pt x="2974" y="437"/>
                  </a:lnTo>
                  <a:lnTo>
                    <a:pt x="2894" y="132"/>
                  </a:lnTo>
                  <a:lnTo>
                    <a:pt x="2946" y="132"/>
                  </a:lnTo>
                  <a:lnTo>
                    <a:pt x="3006" y="362"/>
                  </a:lnTo>
                  <a:lnTo>
                    <a:pt x="3085" y="135"/>
                  </a:lnTo>
                  <a:lnTo>
                    <a:pt x="3130" y="135"/>
                  </a:lnTo>
                  <a:lnTo>
                    <a:pt x="3210" y="362"/>
                  </a:lnTo>
                  <a:lnTo>
                    <a:pt x="3270" y="132"/>
                  </a:lnTo>
                  <a:close/>
                  <a:moveTo>
                    <a:pt x="3381" y="132"/>
                  </a:moveTo>
                  <a:lnTo>
                    <a:pt x="3434" y="132"/>
                  </a:lnTo>
                  <a:lnTo>
                    <a:pt x="3434" y="437"/>
                  </a:lnTo>
                  <a:lnTo>
                    <a:pt x="3381" y="437"/>
                  </a:lnTo>
                  <a:lnTo>
                    <a:pt x="3381" y="132"/>
                  </a:lnTo>
                  <a:close/>
                  <a:moveTo>
                    <a:pt x="3377" y="2"/>
                  </a:moveTo>
                  <a:lnTo>
                    <a:pt x="3438" y="2"/>
                  </a:lnTo>
                  <a:lnTo>
                    <a:pt x="3438" y="61"/>
                  </a:lnTo>
                  <a:lnTo>
                    <a:pt x="3377" y="61"/>
                  </a:lnTo>
                  <a:lnTo>
                    <a:pt x="3377" y="2"/>
                  </a:lnTo>
                  <a:close/>
                  <a:moveTo>
                    <a:pt x="3650" y="440"/>
                  </a:moveTo>
                  <a:lnTo>
                    <a:pt x="3627" y="438"/>
                  </a:lnTo>
                  <a:lnTo>
                    <a:pt x="3608" y="433"/>
                  </a:lnTo>
                  <a:lnTo>
                    <a:pt x="3592" y="424"/>
                  </a:lnTo>
                  <a:lnTo>
                    <a:pt x="3580" y="412"/>
                  </a:lnTo>
                  <a:lnTo>
                    <a:pt x="3572" y="399"/>
                  </a:lnTo>
                  <a:lnTo>
                    <a:pt x="3566" y="385"/>
                  </a:lnTo>
                  <a:lnTo>
                    <a:pt x="3561" y="353"/>
                  </a:lnTo>
                  <a:lnTo>
                    <a:pt x="3561" y="177"/>
                  </a:lnTo>
                  <a:lnTo>
                    <a:pt x="3495" y="177"/>
                  </a:lnTo>
                  <a:lnTo>
                    <a:pt x="3495" y="132"/>
                  </a:lnTo>
                  <a:lnTo>
                    <a:pt x="3561" y="132"/>
                  </a:lnTo>
                  <a:lnTo>
                    <a:pt x="3561" y="51"/>
                  </a:lnTo>
                  <a:lnTo>
                    <a:pt x="3614" y="39"/>
                  </a:lnTo>
                  <a:lnTo>
                    <a:pt x="3614" y="132"/>
                  </a:lnTo>
                  <a:lnTo>
                    <a:pt x="3701" y="132"/>
                  </a:lnTo>
                  <a:lnTo>
                    <a:pt x="3701" y="177"/>
                  </a:lnTo>
                  <a:lnTo>
                    <a:pt x="3614" y="177"/>
                  </a:lnTo>
                  <a:lnTo>
                    <a:pt x="3614" y="347"/>
                  </a:lnTo>
                  <a:lnTo>
                    <a:pt x="3617" y="368"/>
                  </a:lnTo>
                  <a:lnTo>
                    <a:pt x="3619" y="376"/>
                  </a:lnTo>
                  <a:lnTo>
                    <a:pt x="3625" y="382"/>
                  </a:lnTo>
                  <a:lnTo>
                    <a:pt x="3631" y="386"/>
                  </a:lnTo>
                  <a:lnTo>
                    <a:pt x="3638" y="391"/>
                  </a:lnTo>
                  <a:lnTo>
                    <a:pt x="3657" y="394"/>
                  </a:lnTo>
                  <a:lnTo>
                    <a:pt x="3683" y="391"/>
                  </a:lnTo>
                  <a:lnTo>
                    <a:pt x="3704" y="388"/>
                  </a:lnTo>
                  <a:lnTo>
                    <a:pt x="3704" y="431"/>
                  </a:lnTo>
                  <a:lnTo>
                    <a:pt x="3682" y="437"/>
                  </a:lnTo>
                  <a:lnTo>
                    <a:pt x="3650" y="440"/>
                  </a:lnTo>
                  <a:close/>
                  <a:moveTo>
                    <a:pt x="3770" y="0"/>
                  </a:moveTo>
                  <a:lnTo>
                    <a:pt x="3821" y="0"/>
                  </a:lnTo>
                  <a:lnTo>
                    <a:pt x="3821" y="172"/>
                  </a:lnTo>
                  <a:lnTo>
                    <a:pt x="3828" y="161"/>
                  </a:lnTo>
                  <a:lnTo>
                    <a:pt x="3839" y="151"/>
                  </a:lnTo>
                  <a:lnTo>
                    <a:pt x="3862" y="136"/>
                  </a:lnTo>
                  <a:lnTo>
                    <a:pt x="3888" y="126"/>
                  </a:lnTo>
                  <a:lnTo>
                    <a:pt x="3913" y="123"/>
                  </a:lnTo>
                  <a:lnTo>
                    <a:pt x="3937" y="126"/>
                  </a:lnTo>
                  <a:lnTo>
                    <a:pt x="3959" y="132"/>
                  </a:lnTo>
                  <a:lnTo>
                    <a:pt x="3978" y="140"/>
                  </a:lnTo>
                  <a:lnTo>
                    <a:pt x="3994" y="153"/>
                  </a:lnTo>
                  <a:lnTo>
                    <a:pt x="4005" y="169"/>
                  </a:lnTo>
                  <a:lnTo>
                    <a:pt x="4014" y="188"/>
                  </a:lnTo>
                  <a:lnTo>
                    <a:pt x="4019" y="210"/>
                  </a:lnTo>
                  <a:lnTo>
                    <a:pt x="4021" y="236"/>
                  </a:lnTo>
                  <a:lnTo>
                    <a:pt x="4021" y="437"/>
                  </a:lnTo>
                  <a:lnTo>
                    <a:pt x="3969" y="437"/>
                  </a:lnTo>
                  <a:lnTo>
                    <a:pt x="3969" y="243"/>
                  </a:lnTo>
                  <a:lnTo>
                    <a:pt x="3969" y="227"/>
                  </a:lnTo>
                  <a:lnTo>
                    <a:pt x="3965" y="213"/>
                  </a:lnTo>
                  <a:lnTo>
                    <a:pt x="3953" y="190"/>
                  </a:lnTo>
                  <a:lnTo>
                    <a:pt x="3945" y="181"/>
                  </a:lnTo>
                  <a:lnTo>
                    <a:pt x="3933" y="175"/>
                  </a:lnTo>
                  <a:lnTo>
                    <a:pt x="3918" y="171"/>
                  </a:lnTo>
                  <a:lnTo>
                    <a:pt x="3902" y="169"/>
                  </a:lnTo>
                  <a:lnTo>
                    <a:pt x="3884" y="172"/>
                  </a:lnTo>
                  <a:lnTo>
                    <a:pt x="3868" y="178"/>
                  </a:lnTo>
                  <a:lnTo>
                    <a:pt x="3855" y="187"/>
                  </a:lnTo>
                  <a:lnTo>
                    <a:pt x="3849" y="193"/>
                  </a:lnTo>
                  <a:lnTo>
                    <a:pt x="3843" y="200"/>
                  </a:lnTo>
                  <a:lnTo>
                    <a:pt x="3833" y="214"/>
                  </a:lnTo>
                  <a:lnTo>
                    <a:pt x="3827" y="233"/>
                  </a:lnTo>
                  <a:lnTo>
                    <a:pt x="3823" y="252"/>
                  </a:lnTo>
                  <a:lnTo>
                    <a:pt x="3821" y="274"/>
                  </a:lnTo>
                  <a:lnTo>
                    <a:pt x="3821" y="437"/>
                  </a:lnTo>
                  <a:lnTo>
                    <a:pt x="3770" y="437"/>
                  </a:lnTo>
                  <a:lnTo>
                    <a:pt x="3770" y="0"/>
                  </a:lnTo>
                  <a:close/>
                  <a:moveTo>
                    <a:pt x="4326" y="446"/>
                  </a:moveTo>
                  <a:lnTo>
                    <a:pt x="4302" y="443"/>
                  </a:lnTo>
                  <a:lnTo>
                    <a:pt x="4281" y="437"/>
                  </a:lnTo>
                  <a:lnTo>
                    <a:pt x="4262" y="428"/>
                  </a:lnTo>
                  <a:lnTo>
                    <a:pt x="4248" y="415"/>
                  </a:lnTo>
                  <a:lnTo>
                    <a:pt x="4236" y="401"/>
                  </a:lnTo>
                  <a:lnTo>
                    <a:pt x="4228" y="385"/>
                  </a:lnTo>
                  <a:lnTo>
                    <a:pt x="4223" y="369"/>
                  </a:lnTo>
                  <a:lnTo>
                    <a:pt x="4222" y="352"/>
                  </a:lnTo>
                  <a:lnTo>
                    <a:pt x="4223" y="336"/>
                  </a:lnTo>
                  <a:lnTo>
                    <a:pt x="4226" y="320"/>
                  </a:lnTo>
                  <a:lnTo>
                    <a:pt x="4245" y="289"/>
                  </a:lnTo>
                  <a:lnTo>
                    <a:pt x="4259" y="278"/>
                  </a:lnTo>
                  <a:lnTo>
                    <a:pt x="4278" y="266"/>
                  </a:lnTo>
                  <a:lnTo>
                    <a:pt x="4302" y="259"/>
                  </a:lnTo>
                  <a:lnTo>
                    <a:pt x="4331" y="255"/>
                  </a:lnTo>
                  <a:lnTo>
                    <a:pt x="4423" y="249"/>
                  </a:lnTo>
                  <a:lnTo>
                    <a:pt x="4423" y="229"/>
                  </a:lnTo>
                  <a:lnTo>
                    <a:pt x="4422" y="213"/>
                  </a:lnTo>
                  <a:lnTo>
                    <a:pt x="4419" y="200"/>
                  </a:lnTo>
                  <a:lnTo>
                    <a:pt x="4415" y="190"/>
                  </a:lnTo>
                  <a:lnTo>
                    <a:pt x="4407" y="181"/>
                  </a:lnTo>
                  <a:lnTo>
                    <a:pt x="4397" y="174"/>
                  </a:lnTo>
                  <a:lnTo>
                    <a:pt x="4386" y="169"/>
                  </a:lnTo>
                  <a:lnTo>
                    <a:pt x="4373" y="167"/>
                  </a:lnTo>
                  <a:lnTo>
                    <a:pt x="4357" y="165"/>
                  </a:lnTo>
                  <a:lnTo>
                    <a:pt x="4329" y="169"/>
                  </a:lnTo>
                  <a:lnTo>
                    <a:pt x="4316" y="174"/>
                  </a:lnTo>
                  <a:lnTo>
                    <a:pt x="4306" y="180"/>
                  </a:lnTo>
                  <a:lnTo>
                    <a:pt x="4299" y="188"/>
                  </a:lnTo>
                  <a:lnTo>
                    <a:pt x="4291" y="197"/>
                  </a:lnTo>
                  <a:lnTo>
                    <a:pt x="4288" y="208"/>
                  </a:lnTo>
                  <a:lnTo>
                    <a:pt x="4287" y="220"/>
                  </a:lnTo>
                  <a:lnTo>
                    <a:pt x="4236" y="220"/>
                  </a:lnTo>
                  <a:lnTo>
                    <a:pt x="4239" y="198"/>
                  </a:lnTo>
                  <a:lnTo>
                    <a:pt x="4246" y="180"/>
                  </a:lnTo>
                  <a:lnTo>
                    <a:pt x="4258" y="162"/>
                  </a:lnTo>
                  <a:lnTo>
                    <a:pt x="4272" y="149"/>
                  </a:lnTo>
                  <a:lnTo>
                    <a:pt x="4290" y="138"/>
                  </a:lnTo>
                  <a:lnTo>
                    <a:pt x="4310" y="130"/>
                  </a:lnTo>
                  <a:lnTo>
                    <a:pt x="4333" y="125"/>
                  </a:lnTo>
                  <a:lnTo>
                    <a:pt x="4357" y="123"/>
                  </a:lnTo>
                  <a:lnTo>
                    <a:pt x="4383" y="126"/>
                  </a:lnTo>
                  <a:lnTo>
                    <a:pt x="4406" y="130"/>
                  </a:lnTo>
                  <a:lnTo>
                    <a:pt x="4425" y="139"/>
                  </a:lnTo>
                  <a:lnTo>
                    <a:pt x="4442" y="151"/>
                  </a:lnTo>
                  <a:lnTo>
                    <a:pt x="4455" y="165"/>
                  </a:lnTo>
                  <a:lnTo>
                    <a:pt x="4466" y="184"/>
                  </a:lnTo>
                  <a:lnTo>
                    <a:pt x="4473" y="206"/>
                  </a:lnTo>
                  <a:lnTo>
                    <a:pt x="4474" y="229"/>
                  </a:lnTo>
                  <a:lnTo>
                    <a:pt x="4474" y="376"/>
                  </a:lnTo>
                  <a:lnTo>
                    <a:pt x="4476" y="386"/>
                  </a:lnTo>
                  <a:lnTo>
                    <a:pt x="4479" y="394"/>
                  </a:lnTo>
                  <a:lnTo>
                    <a:pt x="4492" y="398"/>
                  </a:lnTo>
                  <a:lnTo>
                    <a:pt x="4505" y="395"/>
                  </a:lnTo>
                  <a:lnTo>
                    <a:pt x="4505" y="434"/>
                  </a:lnTo>
                  <a:lnTo>
                    <a:pt x="4489" y="440"/>
                  </a:lnTo>
                  <a:lnTo>
                    <a:pt x="4471" y="441"/>
                  </a:lnTo>
                  <a:lnTo>
                    <a:pt x="4452" y="437"/>
                  </a:lnTo>
                  <a:lnTo>
                    <a:pt x="4438" y="427"/>
                  </a:lnTo>
                  <a:lnTo>
                    <a:pt x="4434" y="421"/>
                  </a:lnTo>
                  <a:lnTo>
                    <a:pt x="4429" y="412"/>
                  </a:lnTo>
                  <a:lnTo>
                    <a:pt x="4426" y="395"/>
                  </a:lnTo>
                  <a:lnTo>
                    <a:pt x="4418" y="405"/>
                  </a:lnTo>
                  <a:lnTo>
                    <a:pt x="4409" y="415"/>
                  </a:lnTo>
                  <a:lnTo>
                    <a:pt x="4386" y="431"/>
                  </a:lnTo>
                  <a:lnTo>
                    <a:pt x="4373" y="437"/>
                  </a:lnTo>
                  <a:lnTo>
                    <a:pt x="4358" y="441"/>
                  </a:lnTo>
                  <a:lnTo>
                    <a:pt x="4326" y="446"/>
                  </a:lnTo>
                  <a:close/>
                  <a:moveTo>
                    <a:pt x="4335" y="402"/>
                  </a:moveTo>
                  <a:lnTo>
                    <a:pt x="4354" y="401"/>
                  </a:lnTo>
                  <a:lnTo>
                    <a:pt x="4373" y="395"/>
                  </a:lnTo>
                  <a:lnTo>
                    <a:pt x="4387" y="386"/>
                  </a:lnTo>
                  <a:lnTo>
                    <a:pt x="4400" y="375"/>
                  </a:lnTo>
                  <a:lnTo>
                    <a:pt x="4410" y="360"/>
                  </a:lnTo>
                  <a:lnTo>
                    <a:pt x="4418" y="344"/>
                  </a:lnTo>
                  <a:lnTo>
                    <a:pt x="4422" y="327"/>
                  </a:lnTo>
                  <a:lnTo>
                    <a:pt x="4423" y="307"/>
                  </a:lnTo>
                  <a:lnTo>
                    <a:pt x="4423" y="289"/>
                  </a:lnTo>
                  <a:lnTo>
                    <a:pt x="4335" y="294"/>
                  </a:lnTo>
                  <a:lnTo>
                    <a:pt x="4313" y="298"/>
                  </a:lnTo>
                  <a:lnTo>
                    <a:pt x="4303" y="302"/>
                  </a:lnTo>
                  <a:lnTo>
                    <a:pt x="4293" y="308"/>
                  </a:lnTo>
                  <a:lnTo>
                    <a:pt x="4286" y="317"/>
                  </a:lnTo>
                  <a:lnTo>
                    <a:pt x="4280" y="326"/>
                  </a:lnTo>
                  <a:lnTo>
                    <a:pt x="4275" y="337"/>
                  </a:lnTo>
                  <a:lnTo>
                    <a:pt x="4274" y="350"/>
                  </a:lnTo>
                  <a:lnTo>
                    <a:pt x="4277" y="369"/>
                  </a:lnTo>
                  <a:lnTo>
                    <a:pt x="4288" y="385"/>
                  </a:lnTo>
                  <a:lnTo>
                    <a:pt x="4307" y="398"/>
                  </a:lnTo>
                  <a:lnTo>
                    <a:pt x="4319" y="401"/>
                  </a:lnTo>
                  <a:lnTo>
                    <a:pt x="4335" y="402"/>
                  </a:lnTo>
                  <a:close/>
                  <a:moveTo>
                    <a:pt x="4705" y="567"/>
                  </a:moveTo>
                  <a:lnTo>
                    <a:pt x="4705" y="132"/>
                  </a:lnTo>
                  <a:lnTo>
                    <a:pt x="4751" y="132"/>
                  </a:lnTo>
                  <a:lnTo>
                    <a:pt x="4754" y="177"/>
                  </a:lnTo>
                  <a:lnTo>
                    <a:pt x="4762" y="165"/>
                  </a:lnTo>
                  <a:lnTo>
                    <a:pt x="4770" y="153"/>
                  </a:lnTo>
                  <a:lnTo>
                    <a:pt x="4780" y="145"/>
                  </a:lnTo>
                  <a:lnTo>
                    <a:pt x="4793" y="138"/>
                  </a:lnTo>
                  <a:lnTo>
                    <a:pt x="4821" y="127"/>
                  </a:lnTo>
                  <a:lnTo>
                    <a:pt x="4834" y="125"/>
                  </a:lnTo>
                  <a:lnTo>
                    <a:pt x="4849" y="123"/>
                  </a:lnTo>
                  <a:lnTo>
                    <a:pt x="4875" y="126"/>
                  </a:lnTo>
                  <a:lnTo>
                    <a:pt x="4899" y="132"/>
                  </a:lnTo>
                  <a:lnTo>
                    <a:pt x="4920" y="143"/>
                  </a:lnTo>
                  <a:lnTo>
                    <a:pt x="4937" y="156"/>
                  </a:lnTo>
                  <a:lnTo>
                    <a:pt x="4947" y="168"/>
                  </a:lnTo>
                  <a:lnTo>
                    <a:pt x="4957" y="181"/>
                  </a:lnTo>
                  <a:lnTo>
                    <a:pt x="4971" y="211"/>
                  </a:lnTo>
                  <a:lnTo>
                    <a:pt x="4976" y="229"/>
                  </a:lnTo>
                  <a:lnTo>
                    <a:pt x="4979" y="246"/>
                  </a:lnTo>
                  <a:lnTo>
                    <a:pt x="4982" y="284"/>
                  </a:lnTo>
                  <a:lnTo>
                    <a:pt x="4979" y="321"/>
                  </a:lnTo>
                  <a:lnTo>
                    <a:pt x="4975" y="340"/>
                  </a:lnTo>
                  <a:lnTo>
                    <a:pt x="4971" y="357"/>
                  </a:lnTo>
                  <a:lnTo>
                    <a:pt x="4956" y="388"/>
                  </a:lnTo>
                  <a:lnTo>
                    <a:pt x="4946" y="401"/>
                  </a:lnTo>
                  <a:lnTo>
                    <a:pt x="4934" y="412"/>
                  </a:lnTo>
                  <a:lnTo>
                    <a:pt x="4918" y="425"/>
                  </a:lnTo>
                  <a:lnTo>
                    <a:pt x="4898" y="435"/>
                  </a:lnTo>
                  <a:lnTo>
                    <a:pt x="4875" y="443"/>
                  </a:lnTo>
                  <a:lnTo>
                    <a:pt x="4849" y="446"/>
                  </a:lnTo>
                  <a:lnTo>
                    <a:pt x="4821" y="443"/>
                  </a:lnTo>
                  <a:lnTo>
                    <a:pt x="4795" y="434"/>
                  </a:lnTo>
                  <a:lnTo>
                    <a:pt x="4772" y="420"/>
                  </a:lnTo>
                  <a:lnTo>
                    <a:pt x="4757" y="399"/>
                  </a:lnTo>
                  <a:lnTo>
                    <a:pt x="4757" y="567"/>
                  </a:lnTo>
                  <a:lnTo>
                    <a:pt x="4705" y="567"/>
                  </a:lnTo>
                  <a:close/>
                  <a:moveTo>
                    <a:pt x="4840" y="402"/>
                  </a:moveTo>
                  <a:lnTo>
                    <a:pt x="4860" y="399"/>
                  </a:lnTo>
                  <a:lnTo>
                    <a:pt x="4878" y="394"/>
                  </a:lnTo>
                  <a:lnTo>
                    <a:pt x="4891" y="385"/>
                  </a:lnTo>
                  <a:lnTo>
                    <a:pt x="4902" y="375"/>
                  </a:lnTo>
                  <a:lnTo>
                    <a:pt x="4915" y="356"/>
                  </a:lnTo>
                  <a:lnTo>
                    <a:pt x="4924" y="333"/>
                  </a:lnTo>
                  <a:lnTo>
                    <a:pt x="4928" y="308"/>
                  </a:lnTo>
                  <a:lnTo>
                    <a:pt x="4930" y="284"/>
                  </a:lnTo>
                  <a:lnTo>
                    <a:pt x="4928" y="259"/>
                  </a:lnTo>
                  <a:lnTo>
                    <a:pt x="4924" y="236"/>
                  </a:lnTo>
                  <a:lnTo>
                    <a:pt x="4915" y="214"/>
                  </a:lnTo>
                  <a:lnTo>
                    <a:pt x="4904" y="195"/>
                  </a:lnTo>
                  <a:lnTo>
                    <a:pt x="4892" y="184"/>
                  </a:lnTo>
                  <a:lnTo>
                    <a:pt x="4878" y="175"/>
                  </a:lnTo>
                  <a:lnTo>
                    <a:pt x="4860" y="169"/>
                  </a:lnTo>
                  <a:lnTo>
                    <a:pt x="4840" y="167"/>
                  </a:lnTo>
                  <a:lnTo>
                    <a:pt x="4824" y="168"/>
                  </a:lnTo>
                  <a:lnTo>
                    <a:pt x="4811" y="172"/>
                  </a:lnTo>
                  <a:lnTo>
                    <a:pt x="4789" y="187"/>
                  </a:lnTo>
                  <a:lnTo>
                    <a:pt x="4772" y="206"/>
                  </a:lnTo>
                  <a:lnTo>
                    <a:pt x="4762" y="230"/>
                  </a:lnTo>
                  <a:lnTo>
                    <a:pt x="4756" y="256"/>
                  </a:lnTo>
                  <a:lnTo>
                    <a:pt x="4754" y="284"/>
                  </a:lnTo>
                  <a:lnTo>
                    <a:pt x="4756" y="313"/>
                  </a:lnTo>
                  <a:lnTo>
                    <a:pt x="4762" y="339"/>
                  </a:lnTo>
                  <a:lnTo>
                    <a:pt x="4772" y="362"/>
                  </a:lnTo>
                  <a:lnTo>
                    <a:pt x="4789" y="381"/>
                  </a:lnTo>
                  <a:lnTo>
                    <a:pt x="4811" y="395"/>
                  </a:lnTo>
                  <a:lnTo>
                    <a:pt x="4824" y="399"/>
                  </a:lnTo>
                  <a:lnTo>
                    <a:pt x="4840" y="402"/>
                  </a:lnTo>
                  <a:close/>
                  <a:moveTo>
                    <a:pt x="5166" y="446"/>
                  </a:moveTo>
                  <a:lnTo>
                    <a:pt x="5143" y="443"/>
                  </a:lnTo>
                  <a:lnTo>
                    <a:pt x="5121" y="437"/>
                  </a:lnTo>
                  <a:lnTo>
                    <a:pt x="5103" y="428"/>
                  </a:lnTo>
                  <a:lnTo>
                    <a:pt x="5087" y="415"/>
                  </a:lnTo>
                  <a:lnTo>
                    <a:pt x="5075" y="399"/>
                  </a:lnTo>
                  <a:lnTo>
                    <a:pt x="5065" y="379"/>
                  </a:lnTo>
                  <a:lnTo>
                    <a:pt x="5059" y="357"/>
                  </a:lnTo>
                  <a:lnTo>
                    <a:pt x="5058" y="333"/>
                  </a:lnTo>
                  <a:lnTo>
                    <a:pt x="5058" y="132"/>
                  </a:lnTo>
                  <a:lnTo>
                    <a:pt x="5108" y="132"/>
                  </a:lnTo>
                  <a:lnTo>
                    <a:pt x="5108" y="326"/>
                  </a:lnTo>
                  <a:lnTo>
                    <a:pt x="5110" y="341"/>
                  </a:lnTo>
                  <a:lnTo>
                    <a:pt x="5113" y="356"/>
                  </a:lnTo>
                  <a:lnTo>
                    <a:pt x="5124" y="379"/>
                  </a:lnTo>
                  <a:lnTo>
                    <a:pt x="5135" y="388"/>
                  </a:lnTo>
                  <a:lnTo>
                    <a:pt x="5146" y="394"/>
                  </a:lnTo>
                  <a:lnTo>
                    <a:pt x="5159" y="398"/>
                  </a:lnTo>
                  <a:lnTo>
                    <a:pt x="5175" y="398"/>
                  </a:lnTo>
                  <a:lnTo>
                    <a:pt x="5194" y="396"/>
                  </a:lnTo>
                  <a:lnTo>
                    <a:pt x="5210" y="391"/>
                  </a:lnTo>
                  <a:lnTo>
                    <a:pt x="5223" y="382"/>
                  </a:lnTo>
                  <a:lnTo>
                    <a:pt x="5235" y="370"/>
                  </a:lnTo>
                  <a:lnTo>
                    <a:pt x="5243" y="355"/>
                  </a:lnTo>
                  <a:lnTo>
                    <a:pt x="5249" y="337"/>
                  </a:lnTo>
                  <a:lnTo>
                    <a:pt x="5254" y="318"/>
                  </a:lnTo>
                  <a:lnTo>
                    <a:pt x="5254" y="297"/>
                  </a:lnTo>
                  <a:lnTo>
                    <a:pt x="5254" y="132"/>
                  </a:lnTo>
                  <a:lnTo>
                    <a:pt x="5306" y="132"/>
                  </a:lnTo>
                  <a:lnTo>
                    <a:pt x="5306" y="437"/>
                  </a:lnTo>
                  <a:lnTo>
                    <a:pt x="5261" y="437"/>
                  </a:lnTo>
                  <a:lnTo>
                    <a:pt x="5256" y="388"/>
                  </a:lnTo>
                  <a:lnTo>
                    <a:pt x="5251" y="401"/>
                  </a:lnTo>
                  <a:lnTo>
                    <a:pt x="5243" y="412"/>
                  </a:lnTo>
                  <a:lnTo>
                    <a:pt x="5233" y="422"/>
                  </a:lnTo>
                  <a:lnTo>
                    <a:pt x="5222" y="430"/>
                  </a:lnTo>
                  <a:lnTo>
                    <a:pt x="5194" y="441"/>
                  </a:lnTo>
                  <a:lnTo>
                    <a:pt x="5166" y="446"/>
                  </a:lnTo>
                  <a:close/>
                  <a:moveTo>
                    <a:pt x="5403" y="437"/>
                  </a:moveTo>
                  <a:lnTo>
                    <a:pt x="5403" y="132"/>
                  </a:lnTo>
                  <a:lnTo>
                    <a:pt x="5449" y="132"/>
                  </a:lnTo>
                  <a:lnTo>
                    <a:pt x="5454" y="185"/>
                  </a:lnTo>
                  <a:lnTo>
                    <a:pt x="5460" y="171"/>
                  </a:lnTo>
                  <a:lnTo>
                    <a:pt x="5468" y="159"/>
                  </a:lnTo>
                  <a:lnTo>
                    <a:pt x="5478" y="151"/>
                  </a:lnTo>
                  <a:lnTo>
                    <a:pt x="5490" y="143"/>
                  </a:lnTo>
                  <a:lnTo>
                    <a:pt x="5516" y="133"/>
                  </a:lnTo>
                  <a:lnTo>
                    <a:pt x="5545" y="129"/>
                  </a:lnTo>
                  <a:lnTo>
                    <a:pt x="5568" y="132"/>
                  </a:lnTo>
                  <a:lnTo>
                    <a:pt x="5568" y="182"/>
                  </a:lnTo>
                  <a:lnTo>
                    <a:pt x="5545" y="180"/>
                  </a:lnTo>
                  <a:lnTo>
                    <a:pt x="5522" y="182"/>
                  </a:lnTo>
                  <a:lnTo>
                    <a:pt x="5502" y="188"/>
                  </a:lnTo>
                  <a:lnTo>
                    <a:pt x="5487" y="198"/>
                  </a:lnTo>
                  <a:lnTo>
                    <a:pt x="5474" y="213"/>
                  </a:lnTo>
                  <a:lnTo>
                    <a:pt x="5465" y="229"/>
                  </a:lnTo>
                  <a:lnTo>
                    <a:pt x="5460" y="247"/>
                  </a:lnTo>
                  <a:lnTo>
                    <a:pt x="5455" y="268"/>
                  </a:lnTo>
                  <a:lnTo>
                    <a:pt x="5454" y="289"/>
                  </a:lnTo>
                  <a:lnTo>
                    <a:pt x="5454" y="437"/>
                  </a:lnTo>
                  <a:lnTo>
                    <a:pt x="5403" y="437"/>
                  </a:lnTo>
                  <a:close/>
                  <a:moveTo>
                    <a:pt x="5631" y="567"/>
                  </a:moveTo>
                  <a:lnTo>
                    <a:pt x="5631" y="132"/>
                  </a:lnTo>
                  <a:lnTo>
                    <a:pt x="5676" y="132"/>
                  </a:lnTo>
                  <a:lnTo>
                    <a:pt x="5679" y="177"/>
                  </a:lnTo>
                  <a:lnTo>
                    <a:pt x="5686" y="165"/>
                  </a:lnTo>
                  <a:lnTo>
                    <a:pt x="5695" y="153"/>
                  </a:lnTo>
                  <a:lnTo>
                    <a:pt x="5705" y="145"/>
                  </a:lnTo>
                  <a:lnTo>
                    <a:pt x="5718" y="138"/>
                  </a:lnTo>
                  <a:lnTo>
                    <a:pt x="5746" y="127"/>
                  </a:lnTo>
                  <a:lnTo>
                    <a:pt x="5760" y="125"/>
                  </a:lnTo>
                  <a:lnTo>
                    <a:pt x="5773" y="123"/>
                  </a:lnTo>
                  <a:lnTo>
                    <a:pt x="5801" y="126"/>
                  </a:lnTo>
                  <a:lnTo>
                    <a:pt x="5824" y="132"/>
                  </a:lnTo>
                  <a:lnTo>
                    <a:pt x="5844" y="143"/>
                  </a:lnTo>
                  <a:lnTo>
                    <a:pt x="5862" y="156"/>
                  </a:lnTo>
                  <a:lnTo>
                    <a:pt x="5873" y="168"/>
                  </a:lnTo>
                  <a:lnTo>
                    <a:pt x="5882" y="181"/>
                  </a:lnTo>
                  <a:lnTo>
                    <a:pt x="5895" y="211"/>
                  </a:lnTo>
                  <a:lnTo>
                    <a:pt x="5901" y="229"/>
                  </a:lnTo>
                  <a:lnTo>
                    <a:pt x="5904" y="246"/>
                  </a:lnTo>
                  <a:lnTo>
                    <a:pt x="5907" y="284"/>
                  </a:lnTo>
                  <a:lnTo>
                    <a:pt x="5904" y="321"/>
                  </a:lnTo>
                  <a:lnTo>
                    <a:pt x="5901" y="340"/>
                  </a:lnTo>
                  <a:lnTo>
                    <a:pt x="5895" y="357"/>
                  </a:lnTo>
                  <a:lnTo>
                    <a:pt x="5880" y="388"/>
                  </a:lnTo>
                  <a:lnTo>
                    <a:pt x="5870" y="401"/>
                  </a:lnTo>
                  <a:lnTo>
                    <a:pt x="5860" y="412"/>
                  </a:lnTo>
                  <a:lnTo>
                    <a:pt x="5843" y="425"/>
                  </a:lnTo>
                  <a:lnTo>
                    <a:pt x="5822" y="435"/>
                  </a:lnTo>
                  <a:lnTo>
                    <a:pt x="5799" y="443"/>
                  </a:lnTo>
                  <a:lnTo>
                    <a:pt x="5773" y="446"/>
                  </a:lnTo>
                  <a:lnTo>
                    <a:pt x="5746" y="443"/>
                  </a:lnTo>
                  <a:lnTo>
                    <a:pt x="5719" y="434"/>
                  </a:lnTo>
                  <a:lnTo>
                    <a:pt x="5698" y="420"/>
                  </a:lnTo>
                  <a:lnTo>
                    <a:pt x="5682" y="399"/>
                  </a:lnTo>
                  <a:lnTo>
                    <a:pt x="5682" y="567"/>
                  </a:lnTo>
                  <a:lnTo>
                    <a:pt x="5631" y="567"/>
                  </a:lnTo>
                  <a:close/>
                  <a:moveTo>
                    <a:pt x="5764" y="402"/>
                  </a:moveTo>
                  <a:lnTo>
                    <a:pt x="5785" y="399"/>
                  </a:lnTo>
                  <a:lnTo>
                    <a:pt x="5802" y="394"/>
                  </a:lnTo>
                  <a:lnTo>
                    <a:pt x="5817" y="385"/>
                  </a:lnTo>
                  <a:lnTo>
                    <a:pt x="5828" y="375"/>
                  </a:lnTo>
                  <a:lnTo>
                    <a:pt x="5840" y="356"/>
                  </a:lnTo>
                  <a:lnTo>
                    <a:pt x="5849" y="333"/>
                  </a:lnTo>
                  <a:lnTo>
                    <a:pt x="5853" y="308"/>
                  </a:lnTo>
                  <a:lnTo>
                    <a:pt x="5854" y="284"/>
                  </a:lnTo>
                  <a:lnTo>
                    <a:pt x="5853" y="259"/>
                  </a:lnTo>
                  <a:lnTo>
                    <a:pt x="5849" y="236"/>
                  </a:lnTo>
                  <a:lnTo>
                    <a:pt x="5841" y="214"/>
                  </a:lnTo>
                  <a:lnTo>
                    <a:pt x="5828" y="195"/>
                  </a:lnTo>
                  <a:lnTo>
                    <a:pt x="5817" y="184"/>
                  </a:lnTo>
                  <a:lnTo>
                    <a:pt x="5802" y="175"/>
                  </a:lnTo>
                  <a:lnTo>
                    <a:pt x="5785" y="169"/>
                  </a:lnTo>
                  <a:lnTo>
                    <a:pt x="5764" y="167"/>
                  </a:lnTo>
                  <a:lnTo>
                    <a:pt x="5748" y="168"/>
                  </a:lnTo>
                  <a:lnTo>
                    <a:pt x="5735" y="172"/>
                  </a:lnTo>
                  <a:lnTo>
                    <a:pt x="5714" y="187"/>
                  </a:lnTo>
                  <a:lnTo>
                    <a:pt x="5698" y="206"/>
                  </a:lnTo>
                  <a:lnTo>
                    <a:pt x="5686" y="230"/>
                  </a:lnTo>
                  <a:lnTo>
                    <a:pt x="5682" y="256"/>
                  </a:lnTo>
                  <a:lnTo>
                    <a:pt x="5679" y="284"/>
                  </a:lnTo>
                  <a:lnTo>
                    <a:pt x="5682" y="313"/>
                  </a:lnTo>
                  <a:lnTo>
                    <a:pt x="5686" y="339"/>
                  </a:lnTo>
                  <a:lnTo>
                    <a:pt x="5698" y="362"/>
                  </a:lnTo>
                  <a:lnTo>
                    <a:pt x="5714" y="381"/>
                  </a:lnTo>
                  <a:lnTo>
                    <a:pt x="5735" y="395"/>
                  </a:lnTo>
                  <a:lnTo>
                    <a:pt x="5748" y="399"/>
                  </a:lnTo>
                  <a:lnTo>
                    <a:pt x="5764" y="402"/>
                  </a:lnTo>
                  <a:close/>
                  <a:moveTo>
                    <a:pt x="6107" y="446"/>
                  </a:moveTo>
                  <a:lnTo>
                    <a:pt x="6078" y="443"/>
                  </a:lnTo>
                  <a:lnTo>
                    <a:pt x="6052" y="435"/>
                  </a:lnTo>
                  <a:lnTo>
                    <a:pt x="6030" y="424"/>
                  </a:lnTo>
                  <a:lnTo>
                    <a:pt x="6011" y="409"/>
                  </a:lnTo>
                  <a:lnTo>
                    <a:pt x="5989" y="383"/>
                  </a:lnTo>
                  <a:lnTo>
                    <a:pt x="5976" y="353"/>
                  </a:lnTo>
                  <a:lnTo>
                    <a:pt x="5969" y="320"/>
                  </a:lnTo>
                  <a:lnTo>
                    <a:pt x="5966" y="284"/>
                  </a:lnTo>
                  <a:lnTo>
                    <a:pt x="5969" y="249"/>
                  </a:lnTo>
                  <a:lnTo>
                    <a:pt x="5976" y="216"/>
                  </a:lnTo>
                  <a:lnTo>
                    <a:pt x="5989" y="185"/>
                  </a:lnTo>
                  <a:lnTo>
                    <a:pt x="5999" y="172"/>
                  </a:lnTo>
                  <a:lnTo>
                    <a:pt x="6011" y="159"/>
                  </a:lnTo>
                  <a:lnTo>
                    <a:pt x="6030" y="145"/>
                  </a:lnTo>
                  <a:lnTo>
                    <a:pt x="6052" y="133"/>
                  </a:lnTo>
                  <a:lnTo>
                    <a:pt x="6078" y="126"/>
                  </a:lnTo>
                  <a:lnTo>
                    <a:pt x="6107" y="123"/>
                  </a:lnTo>
                  <a:lnTo>
                    <a:pt x="6134" y="126"/>
                  </a:lnTo>
                  <a:lnTo>
                    <a:pt x="6161" y="133"/>
                  </a:lnTo>
                  <a:lnTo>
                    <a:pt x="6182" y="145"/>
                  </a:lnTo>
                  <a:lnTo>
                    <a:pt x="6201" y="159"/>
                  </a:lnTo>
                  <a:lnTo>
                    <a:pt x="6223" y="185"/>
                  </a:lnTo>
                  <a:lnTo>
                    <a:pt x="6230" y="200"/>
                  </a:lnTo>
                  <a:lnTo>
                    <a:pt x="6236" y="216"/>
                  </a:lnTo>
                  <a:lnTo>
                    <a:pt x="6243" y="249"/>
                  </a:lnTo>
                  <a:lnTo>
                    <a:pt x="6246" y="284"/>
                  </a:lnTo>
                  <a:lnTo>
                    <a:pt x="6243" y="320"/>
                  </a:lnTo>
                  <a:lnTo>
                    <a:pt x="6236" y="353"/>
                  </a:lnTo>
                  <a:lnTo>
                    <a:pt x="6223" y="383"/>
                  </a:lnTo>
                  <a:lnTo>
                    <a:pt x="6213" y="396"/>
                  </a:lnTo>
                  <a:lnTo>
                    <a:pt x="6201" y="409"/>
                  </a:lnTo>
                  <a:lnTo>
                    <a:pt x="6182" y="424"/>
                  </a:lnTo>
                  <a:lnTo>
                    <a:pt x="6161" y="435"/>
                  </a:lnTo>
                  <a:lnTo>
                    <a:pt x="6134" y="443"/>
                  </a:lnTo>
                  <a:lnTo>
                    <a:pt x="6107" y="446"/>
                  </a:lnTo>
                  <a:close/>
                  <a:moveTo>
                    <a:pt x="6107" y="401"/>
                  </a:moveTo>
                  <a:lnTo>
                    <a:pt x="6124" y="399"/>
                  </a:lnTo>
                  <a:lnTo>
                    <a:pt x="6140" y="395"/>
                  </a:lnTo>
                  <a:lnTo>
                    <a:pt x="6153" y="388"/>
                  </a:lnTo>
                  <a:lnTo>
                    <a:pt x="6163" y="379"/>
                  </a:lnTo>
                  <a:lnTo>
                    <a:pt x="6178" y="360"/>
                  </a:lnTo>
                  <a:lnTo>
                    <a:pt x="6187" y="339"/>
                  </a:lnTo>
                  <a:lnTo>
                    <a:pt x="6190" y="326"/>
                  </a:lnTo>
                  <a:lnTo>
                    <a:pt x="6192" y="313"/>
                  </a:lnTo>
                  <a:lnTo>
                    <a:pt x="6194" y="284"/>
                  </a:lnTo>
                  <a:lnTo>
                    <a:pt x="6192" y="255"/>
                  </a:lnTo>
                  <a:lnTo>
                    <a:pt x="6187" y="230"/>
                  </a:lnTo>
                  <a:lnTo>
                    <a:pt x="6178" y="208"/>
                  </a:lnTo>
                  <a:lnTo>
                    <a:pt x="6163" y="190"/>
                  </a:lnTo>
                  <a:lnTo>
                    <a:pt x="6153" y="181"/>
                  </a:lnTo>
                  <a:lnTo>
                    <a:pt x="6140" y="174"/>
                  </a:lnTo>
                  <a:lnTo>
                    <a:pt x="6124" y="169"/>
                  </a:lnTo>
                  <a:lnTo>
                    <a:pt x="6107" y="168"/>
                  </a:lnTo>
                  <a:lnTo>
                    <a:pt x="6088" y="169"/>
                  </a:lnTo>
                  <a:lnTo>
                    <a:pt x="6073" y="174"/>
                  </a:lnTo>
                  <a:lnTo>
                    <a:pt x="6059" y="181"/>
                  </a:lnTo>
                  <a:lnTo>
                    <a:pt x="6049" y="190"/>
                  </a:lnTo>
                  <a:lnTo>
                    <a:pt x="6034" y="208"/>
                  </a:lnTo>
                  <a:lnTo>
                    <a:pt x="6026" y="230"/>
                  </a:lnTo>
                  <a:lnTo>
                    <a:pt x="6023" y="242"/>
                  </a:lnTo>
                  <a:lnTo>
                    <a:pt x="6021" y="255"/>
                  </a:lnTo>
                  <a:lnTo>
                    <a:pt x="6020" y="284"/>
                  </a:lnTo>
                  <a:lnTo>
                    <a:pt x="6021" y="313"/>
                  </a:lnTo>
                  <a:lnTo>
                    <a:pt x="6026" y="339"/>
                  </a:lnTo>
                  <a:lnTo>
                    <a:pt x="6034" y="360"/>
                  </a:lnTo>
                  <a:lnTo>
                    <a:pt x="6049" y="379"/>
                  </a:lnTo>
                  <a:lnTo>
                    <a:pt x="6059" y="388"/>
                  </a:lnTo>
                  <a:lnTo>
                    <a:pt x="6073" y="395"/>
                  </a:lnTo>
                  <a:lnTo>
                    <a:pt x="6088" y="399"/>
                  </a:lnTo>
                  <a:lnTo>
                    <a:pt x="6107" y="401"/>
                  </a:lnTo>
                  <a:close/>
                  <a:moveTo>
                    <a:pt x="6429" y="446"/>
                  </a:moveTo>
                  <a:lnTo>
                    <a:pt x="6403" y="443"/>
                  </a:lnTo>
                  <a:lnTo>
                    <a:pt x="6378" y="437"/>
                  </a:lnTo>
                  <a:lnTo>
                    <a:pt x="6356" y="428"/>
                  </a:lnTo>
                  <a:lnTo>
                    <a:pt x="6338" y="417"/>
                  </a:lnTo>
                  <a:lnTo>
                    <a:pt x="6322" y="402"/>
                  </a:lnTo>
                  <a:lnTo>
                    <a:pt x="6310" y="383"/>
                  </a:lnTo>
                  <a:lnTo>
                    <a:pt x="6303" y="363"/>
                  </a:lnTo>
                  <a:lnTo>
                    <a:pt x="6300" y="340"/>
                  </a:lnTo>
                  <a:lnTo>
                    <a:pt x="6352" y="340"/>
                  </a:lnTo>
                  <a:lnTo>
                    <a:pt x="6354" y="355"/>
                  </a:lnTo>
                  <a:lnTo>
                    <a:pt x="6358" y="368"/>
                  </a:lnTo>
                  <a:lnTo>
                    <a:pt x="6365" y="378"/>
                  </a:lnTo>
                  <a:lnTo>
                    <a:pt x="6375" y="386"/>
                  </a:lnTo>
                  <a:lnTo>
                    <a:pt x="6387" y="394"/>
                  </a:lnTo>
                  <a:lnTo>
                    <a:pt x="6400" y="398"/>
                  </a:lnTo>
                  <a:lnTo>
                    <a:pt x="6432" y="402"/>
                  </a:lnTo>
                  <a:lnTo>
                    <a:pt x="6458" y="399"/>
                  </a:lnTo>
                  <a:lnTo>
                    <a:pt x="6470" y="395"/>
                  </a:lnTo>
                  <a:lnTo>
                    <a:pt x="6481" y="389"/>
                  </a:lnTo>
                  <a:lnTo>
                    <a:pt x="6490" y="382"/>
                  </a:lnTo>
                  <a:lnTo>
                    <a:pt x="6497" y="373"/>
                  </a:lnTo>
                  <a:lnTo>
                    <a:pt x="6502" y="363"/>
                  </a:lnTo>
                  <a:lnTo>
                    <a:pt x="6503" y="352"/>
                  </a:lnTo>
                  <a:lnTo>
                    <a:pt x="6500" y="336"/>
                  </a:lnTo>
                  <a:lnTo>
                    <a:pt x="6490" y="324"/>
                  </a:lnTo>
                  <a:lnTo>
                    <a:pt x="6483" y="318"/>
                  </a:lnTo>
                  <a:lnTo>
                    <a:pt x="6475" y="314"/>
                  </a:lnTo>
                  <a:lnTo>
                    <a:pt x="6454" y="310"/>
                  </a:lnTo>
                  <a:lnTo>
                    <a:pt x="6387" y="298"/>
                  </a:lnTo>
                  <a:lnTo>
                    <a:pt x="6371" y="295"/>
                  </a:lnTo>
                  <a:lnTo>
                    <a:pt x="6356" y="289"/>
                  </a:lnTo>
                  <a:lnTo>
                    <a:pt x="6343" y="282"/>
                  </a:lnTo>
                  <a:lnTo>
                    <a:pt x="6332" y="272"/>
                  </a:lnTo>
                  <a:lnTo>
                    <a:pt x="6323" y="262"/>
                  </a:lnTo>
                  <a:lnTo>
                    <a:pt x="6316" y="249"/>
                  </a:lnTo>
                  <a:lnTo>
                    <a:pt x="6313" y="233"/>
                  </a:lnTo>
                  <a:lnTo>
                    <a:pt x="6311" y="217"/>
                  </a:lnTo>
                  <a:lnTo>
                    <a:pt x="6313" y="197"/>
                  </a:lnTo>
                  <a:lnTo>
                    <a:pt x="6320" y="180"/>
                  </a:lnTo>
                  <a:lnTo>
                    <a:pt x="6332" y="164"/>
                  </a:lnTo>
                  <a:lnTo>
                    <a:pt x="6338" y="156"/>
                  </a:lnTo>
                  <a:lnTo>
                    <a:pt x="6346" y="149"/>
                  </a:lnTo>
                  <a:lnTo>
                    <a:pt x="6364" y="139"/>
                  </a:lnTo>
                  <a:lnTo>
                    <a:pt x="6383" y="130"/>
                  </a:lnTo>
                  <a:lnTo>
                    <a:pt x="6404" y="126"/>
                  </a:lnTo>
                  <a:lnTo>
                    <a:pt x="6426" y="123"/>
                  </a:lnTo>
                  <a:lnTo>
                    <a:pt x="6451" y="126"/>
                  </a:lnTo>
                  <a:lnTo>
                    <a:pt x="6474" y="130"/>
                  </a:lnTo>
                  <a:lnTo>
                    <a:pt x="6494" y="139"/>
                  </a:lnTo>
                  <a:lnTo>
                    <a:pt x="6512" y="151"/>
                  </a:lnTo>
                  <a:lnTo>
                    <a:pt x="6526" y="164"/>
                  </a:lnTo>
                  <a:lnTo>
                    <a:pt x="6536" y="181"/>
                  </a:lnTo>
                  <a:lnTo>
                    <a:pt x="6544" y="200"/>
                  </a:lnTo>
                  <a:lnTo>
                    <a:pt x="6545" y="220"/>
                  </a:lnTo>
                  <a:lnTo>
                    <a:pt x="6494" y="220"/>
                  </a:lnTo>
                  <a:lnTo>
                    <a:pt x="6493" y="208"/>
                  </a:lnTo>
                  <a:lnTo>
                    <a:pt x="6489" y="198"/>
                  </a:lnTo>
                  <a:lnTo>
                    <a:pt x="6483" y="188"/>
                  </a:lnTo>
                  <a:lnTo>
                    <a:pt x="6474" y="181"/>
                  </a:lnTo>
                  <a:lnTo>
                    <a:pt x="6465" y="175"/>
                  </a:lnTo>
                  <a:lnTo>
                    <a:pt x="6454" y="169"/>
                  </a:lnTo>
                  <a:lnTo>
                    <a:pt x="6426" y="167"/>
                  </a:lnTo>
                  <a:lnTo>
                    <a:pt x="6400" y="169"/>
                  </a:lnTo>
                  <a:lnTo>
                    <a:pt x="6388" y="174"/>
                  </a:lnTo>
                  <a:lnTo>
                    <a:pt x="6380" y="180"/>
                  </a:lnTo>
                  <a:lnTo>
                    <a:pt x="6365" y="194"/>
                  </a:lnTo>
                  <a:lnTo>
                    <a:pt x="6361" y="204"/>
                  </a:lnTo>
                  <a:lnTo>
                    <a:pt x="6359" y="214"/>
                  </a:lnTo>
                  <a:lnTo>
                    <a:pt x="6362" y="230"/>
                  </a:lnTo>
                  <a:lnTo>
                    <a:pt x="6371" y="240"/>
                  </a:lnTo>
                  <a:lnTo>
                    <a:pt x="6384" y="247"/>
                  </a:lnTo>
                  <a:lnTo>
                    <a:pt x="6401" y="253"/>
                  </a:lnTo>
                  <a:lnTo>
                    <a:pt x="6474" y="263"/>
                  </a:lnTo>
                  <a:lnTo>
                    <a:pt x="6490" y="268"/>
                  </a:lnTo>
                  <a:lnTo>
                    <a:pt x="6505" y="274"/>
                  </a:lnTo>
                  <a:lnTo>
                    <a:pt x="6518" y="282"/>
                  </a:lnTo>
                  <a:lnTo>
                    <a:pt x="6529" y="291"/>
                  </a:lnTo>
                  <a:lnTo>
                    <a:pt x="6539" y="302"/>
                  </a:lnTo>
                  <a:lnTo>
                    <a:pt x="6547" y="317"/>
                  </a:lnTo>
                  <a:lnTo>
                    <a:pt x="6551" y="331"/>
                  </a:lnTo>
                  <a:lnTo>
                    <a:pt x="6552" y="347"/>
                  </a:lnTo>
                  <a:lnTo>
                    <a:pt x="6551" y="370"/>
                  </a:lnTo>
                  <a:lnTo>
                    <a:pt x="6544" y="389"/>
                  </a:lnTo>
                  <a:lnTo>
                    <a:pt x="6532" y="407"/>
                  </a:lnTo>
                  <a:lnTo>
                    <a:pt x="6516" y="420"/>
                  </a:lnTo>
                  <a:lnTo>
                    <a:pt x="6499" y="431"/>
                  </a:lnTo>
                  <a:lnTo>
                    <a:pt x="6477" y="438"/>
                  </a:lnTo>
                  <a:lnTo>
                    <a:pt x="6454" y="443"/>
                  </a:lnTo>
                  <a:lnTo>
                    <a:pt x="6429" y="446"/>
                  </a:lnTo>
                  <a:close/>
                  <a:moveTo>
                    <a:pt x="6751" y="446"/>
                  </a:moveTo>
                  <a:lnTo>
                    <a:pt x="6719" y="441"/>
                  </a:lnTo>
                  <a:lnTo>
                    <a:pt x="6692" y="433"/>
                  </a:lnTo>
                  <a:lnTo>
                    <a:pt x="6666" y="418"/>
                  </a:lnTo>
                  <a:lnTo>
                    <a:pt x="6645" y="399"/>
                  </a:lnTo>
                  <a:lnTo>
                    <a:pt x="6628" y="375"/>
                  </a:lnTo>
                  <a:lnTo>
                    <a:pt x="6616" y="347"/>
                  </a:lnTo>
                  <a:lnTo>
                    <a:pt x="6609" y="318"/>
                  </a:lnTo>
                  <a:lnTo>
                    <a:pt x="6606" y="285"/>
                  </a:lnTo>
                  <a:lnTo>
                    <a:pt x="6608" y="259"/>
                  </a:lnTo>
                  <a:lnTo>
                    <a:pt x="6612" y="234"/>
                  </a:lnTo>
                  <a:lnTo>
                    <a:pt x="6619" y="210"/>
                  </a:lnTo>
                  <a:lnTo>
                    <a:pt x="6631" y="188"/>
                  </a:lnTo>
                  <a:lnTo>
                    <a:pt x="6651" y="162"/>
                  </a:lnTo>
                  <a:lnTo>
                    <a:pt x="6677" y="142"/>
                  </a:lnTo>
                  <a:lnTo>
                    <a:pt x="6693" y="135"/>
                  </a:lnTo>
                  <a:lnTo>
                    <a:pt x="6711" y="129"/>
                  </a:lnTo>
                  <a:lnTo>
                    <a:pt x="6748" y="123"/>
                  </a:lnTo>
                  <a:lnTo>
                    <a:pt x="6777" y="126"/>
                  </a:lnTo>
                  <a:lnTo>
                    <a:pt x="6792" y="130"/>
                  </a:lnTo>
                  <a:lnTo>
                    <a:pt x="6805" y="135"/>
                  </a:lnTo>
                  <a:lnTo>
                    <a:pt x="6828" y="149"/>
                  </a:lnTo>
                  <a:lnTo>
                    <a:pt x="6847" y="167"/>
                  </a:lnTo>
                  <a:lnTo>
                    <a:pt x="6862" y="188"/>
                  </a:lnTo>
                  <a:lnTo>
                    <a:pt x="6873" y="214"/>
                  </a:lnTo>
                  <a:lnTo>
                    <a:pt x="6880" y="242"/>
                  </a:lnTo>
                  <a:lnTo>
                    <a:pt x="6883" y="271"/>
                  </a:lnTo>
                  <a:lnTo>
                    <a:pt x="6882" y="301"/>
                  </a:lnTo>
                  <a:lnTo>
                    <a:pt x="6660" y="301"/>
                  </a:lnTo>
                  <a:lnTo>
                    <a:pt x="6661" y="321"/>
                  </a:lnTo>
                  <a:lnTo>
                    <a:pt x="6666" y="340"/>
                  </a:lnTo>
                  <a:lnTo>
                    <a:pt x="6674" y="357"/>
                  </a:lnTo>
                  <a:lnTo>
                    <a:pt x="6684" y="372"/>
                  </a:lnTo>
                  <a:lnTo>
                    <a:pt x="6698" y="383"/>
                  </a:lnTo>
                  <a:lnTo>
                    <a:pt x="6713" y="392"/>
                  </a:lnTo>
                  <a:lnTo>
                    <a:pt x="6732" y="398"/>
                  </a:lnTo>
                  <a:lnTo>
                    <a:pt x="6753" y="399"/>
                  </a:lnTo>
                  <a:lnTo>
                    <a:pt x="6777" y="396"/>
                  </a:lnTo>
                  <a:lnTo>
                    <a:pt x="6799" y="386"/>
                  </a:lnTo>
                  <a:lnTo>
                    <a:pt x="6808" y="379"/>
                  </a:lnTo>
                  <a:lnTo>
                    <a:pt x="6815" y="370"/>
                  </a:lnTo>
                  <a:lnTo>
                    <a:pt x="6827" y="346"/>
                  </a:lnTo>
                  <a:lnTo>
                    <a:pt x="6877" y="346"/>
                  </a:lnTo>
                  <a:lnTo>
                    <a:pt x="6873" y="368"/>
                  </a:lnTo>
                  <a:lnTo>
                    <a:pt x="6863" y="386"/>
                  </a:lnTo>
                  <a:lnTo>
                    <a:pt x="6850" y="402"/>
                  </a:lnTo>
                  <a:lnTo>
                    <a:pt x="6835" y="417"/>
                  </a:lnTo>
                  <a:lnTo>
                    <a:pt x="6817" y="428"/>
                  </a:lnTo>
                  <a:lnTo>
                    <a:pt x="6796" y="438"/>
                  </a:lnTo>
                  <a:lnTo>
                    <a:pt x="6774" y="443"/>
                  </a:lnTo>
                  <a:lnTo>
                    <a:pt x="6751" y="446"/>
                  </a:lnTo>
                  <a:close/>
                  <a:moveTo>
                    <a:pt x="6661" y="258"/>
                  </a:moveTo>
                  <a:lnTo>
                    <a:pt x="6830" y="258"/>
                  </a:lnTo>
                  <a:lnTo>
                    <a:pt x="6828" y="239"/>
                  </a:lnTo>
                  <a:lnTo>
                    <a:pt x="6825" y="221"/>
                  </a:lnTo>
                  <a:lnTo>
                    <a:pt x="6818" y="206"/>
                  </a:lnTo>
                  <a:lnTo>
                    <a:pt x="6809" y="193"/>
                  </a:lnTo>
                  <a:lnTo>
                    <a:pt x="6796" y="182"/>
                  </a:lnTo>
                  <a:lnTo>
                    <a:pt x="6783" y="174"/>
                  </a:lnTo>
                  <a:lnTo>
                    <a:pt x="6766" y="169"/>
                  </a:lnTo>
                  <a:lnTo>
                    <a:pt x="6747" y="167"/>
                  </a:lnTo>
                  <a:lnTo>
                    <a:pt x="6727" y="169"/>
                  </a:lnTo>
                  <a:lnTo>
                    <a:pt x="6711" y="175"/>
                  </a:lnTo>
                  <a:lnTo>
                    <a:pt x="6696" y="184"/>
                  </a:lnTo>
                  <a:lnTo>
                    <a:pt x="6683" y="195"/>
                  </a:lnTo>
                  <a:lnTo>
                    <a:pt x="6674" y="210"/>
                  </a:lnTo>
                  <a:lnTo>
                    <a:pt x="6667" y="224"/>
                  </a:lnTo>
                  <a:lnTo>
                    <a:pt x="6663" y="240"/>
                  </a:lnTo>
                  <a:lnTo>
                    <a:pt x="6661" y="258"/>
                  </a:lnTo>
                  <a:close/>
                  <a:moveTo>
                    <a:pt x="6937" y="365"/>
                  </a:moveTo>
                  <a:lnTo>
                    <a:pt x="7008" y="365"/>
                  </a:lnTo>
                  <a:lnTo>
                    <a:pt x="7008" y="437"/>
                  </a:lnTo>
                  <a:lnTo>
                    <a:pt x="6937" y="437"/>
                  </a:lnTo>
                  <a:lnTo>
                    <a:pt x="6937" y="3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579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9D990C37-BAAF-456F-A616-16C24BE92C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0" y="2838450"/>
              <a:ext cx="5559425" cy="1103313"/>
            </a:xfrm>
            <a:custGeom>
              <a:avLst/>
              <a:gdLst>
                <a:gd name="T0" fmla="*/ 2113 w 7004"/>
                <a:gd name="T1" fmla="*/ 1241 h 1391"/>
                <a:gd name="T2" fmla="*/ 1827 w 7004"/>
                <a:gd name="T3" fmla="*/ 1381 h 1391"/>
                <a:gd name="T4" fmla="*/ 1490 w 7004"/>
                <a:gd name="T5" fmla="*/ 1354 h 1391"/>
                <a:gd name="T6" fmla="*/ 1257 w 7004"/>
                <a:gd name="T7" fmla="*/ 1163 h 1391"/>
                <a:gd name="T8" fmla="*/ 1146 w 7004"/>
                <a:gd name="T9" fmla="*/ 767 h 1391"/>
                <a:gd name="T10" fmla="*/ 1213 w 7004"/>
                <a:gd name="T11" fmla="*/ 313 h 1391"/>
                <a:gd name="T12" fmla="*/ 1441 w 7004"/>
                <a:gd name="T13" fmla="*/ 61 h 1391"/>
                <a:gd name="T14" fmla="*/ 1855 w 7004"/>
                <a:gd name="T15" fmla="*/ 15 h 1391"/>
                <a:gd name="T16" fmla="*/ 2123 w 7004"/>
                <a:gd name="T17" fmla="*/ 171 h 1391"/>
                <a:gd name="T18" fmla="*/ 2268 w 7004"/>
                <a:gd name="T19" fmla="*/ 524 h 1391"/>
                <a:gd name="T20" fmla="*/ 1474 w 7004"/>
                <a:gd name="T21" fmla="*/ 903 h 1391"/>
                <a:gd name="T22" fmla="*/ 1593 w 7004"/>
                <a:gd name="T23" fmla="*/ 1069 h 1391"/>
                <a:gd name="T24" fmla="*/ 1817 w 7004"/>
                <a:gd name="T25" fmla="*/ 1076 h 1391"/>
                <a:gd name="T26" fmla="*/ 2262 w 7004"/>
                <a:gd name="T27" fmla="*/ 955 h 1391"/>
                <a:gd name="T28" fmla="*/ 1543 w 7004"/>
                <a:gd name="T29" fmla="*/ 347 h 1391"/>
                <a:gd name="T30" fmla="*/ 1935 w 7004"/>
                <a:gd name="T31" fmla="*/ 436 h 1391"/>
                <a:gd name="T32" fmla="*/ 1779 w 7004"/>
                <a:gd name="T33" fmla="*/ 279 h 1391"/>
                <a:gd name="T34" fmla="*/ 5001 w 7004"/>
                <a:gd name="T35" fmla="*/ 1364 h 1391"/>
                <a:gd name="T36" fmla="*/ 5079 w 7004"/>
                <a:gd name="T37" fmla="*/ 181 h 1391"/>
                <a:gd name="T38" fmla="*/ 5325 w 7004"/>
                <a:gd name="T39" fmla="*/ 15 h 1391"/>
                <a:gd name="T40" fmla="*/ 5657 w 7004"/>
                <a:gd name="T41" fmla="*/ 42 h 1391"/>
                <a:gd name="T42" fmla="*/ 5850 w 7004"/>
                <a:gd name="T43" fmla="*/ 249 h 1391"/>
                <a:gd name="T44" fmla="*/ 5570 w 7004"/>
                <a:gd name="T45" fmla="*/ 363 h 1391"/>
                <a:gd name="T46" fmla="*/ 5406 w 7004"/>
                <a:gd name="T47" fmla="*/ 300 h 1391"/>
                <a:gd name="T48" fmla="*/ 4016 w 7004"/>
                <a:gd name="T49" fmla="*/ 457 h 1391"/>
                <a:gd name="T50" fmla="*/ 3634 w 7004"/>
                <a:gd name="T51" fmla="*/ 308 h 1391"/>
                <a:gd name="T52" fmla="*/ 3460 w 7004"/>
                <a:gd name="T53" fmla="*/ 353 h 1391"/>
                <a:gd name="T54" fmla="*/ 3122 w 7004"/>
                <a:gd name="T55" fmla="*/ 399 h 1391"/>
                <a:gd name="T56" fmla="*/ 2987 w 7004"/>
                <a:gd name="T57" fmla="*/ 294 h 1391"/>
                <a:gd name="T58" fmla="*/ 2843 w 7004"/>
                <a:gd name="T59" fmla="*/ 436 h 1391"/>
                <a:gd name="T60" fmla="*/ 2595 w 7004"/>
                <a:gd name="T61" fmla="*/ 230 h 1391"/>
                <a:gd name="T62" fmla="*/ 2782 w 7004"/>
                <a:gd name="T63" fmla="*/ 45 h 1391"/>
                <a:gd name="T64" fmla="*/ 3116 w 7004"/>
                <a:gd name="T65" fmla="*/ 16 h 1391"/>
                <a:gd name="T66" fmla="*/ 3323 w 7004"/>
                <a:gd name="T67" fmla="*/ 70 h 1391"/>
                <a:gd name="T68" fmla="*/ 3606 w 7004"/>
                <a:gd name="T69" fmla="*/ 2 h 1391"/>
                <a:gd name="T70" fmla="*/ 3897 w 7004"/>
                <a:gd name="T71" fmla="*/ 135 h 1391"/>
                <a:gd name="T72" fmla="*/ 4011 w 7004"/>
                <a:gd name="T73" fmla="*/ 388 h 1391"/>
                <a:gd name="T74" fmla="*/ 488 w 7004"/>
                <a:gd name="T75" fmla="*/ 402 h 1391"/>
                <a:gd name="T76" fmla="*/ 697 w 7004"/>
                <a:gd name="T77" fmla="*/ 62 h 1391"/>
                <a:gd name="T78" fmla="*/ 878 w 7004"/>
                <a:gd name="T79" fmla="*/ 365 h 1391"/>
                <a:gd name="T80" fmla="*/ 604 w 7004"/>
                <a:gd name="T81" fmla="*/ 680 h 1391"/>
                <a:gd name="T82" fmla="*/ 869 w 7004"/>
                <a:gd name="T83" fmla="*/ 982 h 1391"/>
                <a:gd name="T84" fmla="*/ 711 w 7004"/>
                <a:gd name="T85" fmla="*/ 1351 h 1391"/>
                <a:gd name="T86" fmla="*/ 511 w 7004"/>
                <a:gd name="T87" fmla="*/ 981 h 1391"/>
                <a:gd name="T88" fmla="*/ 298 w 7004"/>
                <a:gd name="T89" fmla="*/ 1364 h 1391"/>
                <a:gd name="T90" fmla="*/ 6319 w 7004"/>
                <a:gd name="T91" fmla="*/ 799 h 1391"/>
                <a:gd name="T92" fmla="*/ 6220 w 7004"/>
                <a:gd name="T93" fmla="*/ 950 h 1391"/>
                <a:gd name="T94" fmla="*/ 6349 w 7004"/>
                <a:gd name="T95" fmla="*/ 1081 h 1391"/>
                <a:gd name="T96" fmla="*/ 6668 w 7004"/>
                <a:gd name="T97" fmla="*/ 363 h 1391"/>
                <a:gd name="T98" fmla="*/ 6538 w 7004"/>
                <a:gd name="T99" fmla="*/ 292 h 1391"/>
                <a:gd name="T100" fmla="*/ 6320 w 7004"/>
                <a:gd name="T101" fmla="*/ 347 h 1391"/>
                <a:gd name="T102" fmla="*/ 6037 w 7004"/>
                <a:gd name="T103" fmla="*/ 248 h 1391"/>
                <a:gd name="T104" fmla="*/ 6264 w 7004"/>
                <a:gd name="T105" fmla="*/ 38 h 1391"/>
                <a:gd name="T106" fmla="*/ 6626 w 7004"/>
                <a:gd name="T107" fmla="*/ 15 h 1391"/>
                <a:gd name="T108" fmla="*/ 6904 w 7004"/>
                <a:gd name="T109" fmla="*/ 180 h 1391"/>
                <a:gd name="T110" fmla="*/ 7002 w 7004"/>
                <a:gd name="T111" fmla="*/ 434 h 1391"/>
                <a:gd name="T112" fmla="*/ 6195 w 7004"/>
                <a:gd name="T113" fmla="*/ 1341 h 1391"/>
                <a:gd name="T114" fmla="*/ 5983 w 7004"/>
                <a:gd name="T115" fmla="*/ 1182 h 1391"/>
                <a:gd name="T116" fmla="*/ 5923 w 7004"/>
                <a:gd name="T117" fmla="*/ 887 h 1391"/>
                <a:gd name="T118" fmla="*/ 6055 w 7004"/>
                <a:gd name="T119" fmla="*/ 628 h 1391"/>
                <a:gd name="T120" fmla="*/ 6320 w 7004"/>
                <a:gd name="T121" fmla="*/ 514 h 1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004" h="1391">
                  <a:moveTo>
                    <a:pt x="2262" y="955"/>
                  </a:moveTo>
                  <a:lnTo>
                    <a:pt x="2257" y="982"/>
                  </a:lnTo>
                  <a:lnTo>
                    <a:pt x="2249" y="1010"/>
                  </a:lnTo>
                  <a:lnTo>
                    <a:pt x="2241" y="1036"/>
                  </a:lnTo>
                  <a:lnTo>
                    <a:pt x="2232" y="1060"/>
                  </a:lnTo>
                  <a:lnTo>
                    <a:pt x="2222" y="1083"/>
                  </a:lnTo>
                  <a:lnTo>
                    <a:pt x="2218" y="1095"/>
                  </a:lnTo>
                  <a:lnTo>
                    <a:pt x="2212" y="1107"/>
                  </a:lnTo>
                  <a:lnTo>
                    <a:pt x="2200" y="1128"/>
                  </a:lnTo>
                  <a:lnTo>
                    <a:pt x="2187" y="1150"/>
                  </a:lnTo>
                  <a:lnTo>
                    <a:pt x="2174" y="1169"/>
                  </a:lnTo>
                  <a:lnTo>
                    <a:pt x="2159" y="1189"/>
                  </a:lnTo>
                  <a:lnTo>
                    <a:pt x="2145" y="1206"/>
                  </a:lnTo>
                  <a:lnTo>
                    <a:pt x="2129" y="1225"/>
                  </a:lnTo>
                  <a:lnTo>
                    <a:pt x="2113" y="1241"/>
                  </a:lnTo>
                  <a:lnTo>
                    <a:pt x="2096" y="1257"/>
                  </a:lnTo>
                  <a:lnTo>
                    <a:pt x="2078" y="1271"/>
                  </a:lnTo>
                  <a:lnTo>
                    <a:pt x="2069" y="1279"/>
                  </a:lnTo>
                  <a:lnTo>
                    <a:pt x="2059" y="1286"/>
                  </a:lnTo>
                  <a:lnTo>
                    <a:pt x="2040" y="1299"/>
                  </a:lnTo>
                  <a:lnTo>
                    <a:pt x="2022" y="1310"/>
                  </a:lnTo>
                  <a:lnTo>
                    <a:pt x="2001" y="1322"/>
                  </a:lnTo>
                  <a:lnTo>
                    <a:pt x="1981" y="1332"/>
                  </a:lnTo>
                  <a:lnTo>
                    <a:pt x="1961" y="1342"/>
                  </a:lnTo>
                  <a:lnTo>
                    <a:pt x="1939" y="1351"/>
                  </a:lnTo>
                  <a:lnTo>
                    <a:pt x="1917" y="1358"/>
                  </a:lnTo>
                  <a:lnTo>
                    <a:pt x="1895" y="1365"/>
                  </a:lnTo>
                  <a:lnTo>
                    <a:pt x="1874" y="1371"/>
                  </a:lnTo>
                  <a:lnTo>
                    <a:pt x="1850" y="1377"/>
                  </a:lnTo>
                  <a:lnTo>
                    <a:pt x="1827" y="1381"/>
                  </a:lnTo>
                  <a:lnTo>
                    <a:pt x="1804" y="1386"/>
                  </a:lnTo>
                  <a:lnTo>
                    <a:pt x="1782" y="1389"/>
                  </a:lnTo>
                  <a:lnTo>
                    <a:pt x="1757" y="1390"/>
                  </a:lnTo>
                  <a:lnTo>
                    <a:pt x="1734" y="1391"/>
                  </a:lnTo>
                  <a:lnTo>
                    <a:pt x="1711" y="1391"/>
                  </a:lnTo>
                  <a:lnTo>
                    <a:pt x="1682" y="1391"/>
                  </a:lnTo>
                  <a:lnTo>
                    <a:pt x="1653" y="1389"/>
                  </a:lnTo>
                  <a:lnTo>
                    <a:pt x="1624" y="1386"/>
                  </a:lnTo>
                  <a:lnTo>
                    <a:pt x="1596" y="1383"/>
                  </a:lnTo>
                  <a:lnTo>
                    <a:pt x="1583" y="1380"/>
                  </a:lnTo>
                  <a:lnTo>
                    <a:pt x="1569" y="1377"/>
                  </a:lnTo>
                  <a:lnTo>
                    <a:pt x="1556" y="1374"/>
                  </a:lnTo>
                  <a:lnTo>
                    <a:pt x="1543" y="1370"/>
                  </a:lnTo>
                  <a:lnTo>
                    <a:pt x="1515" y="1363"/>
                  </a:lnTo>
                  <a:lnTo>
                    <a:pt x="1490" y="1354"/>
                  </a:lnTo>
                  <a:lnTo>
                    <a:pt x="1477" y="1348"/>
                  </a:lnTo>
                  <a:lnTo>
                    <a:pt x="1464" y="1344"/>
                  </a:lnTo>
                  <a:lnTo>
                    <a:pt x="1440" y="1332"/>
                  </a:lnTo>
                  <a:lnTo>
                    <a:pt x="1428" y="1325"/>
                  </a:lnTo>
                  <a:lnTo>
                    <a:pt x="1416" y="1319"/>
                  </a:lnTo>
                  <a:lnTo>
                    <a:pt x="1393" y="1305"/>
                  </a:lnTo>
                  <a:lnTo>
                    <a:pt x="1383" y="1296"/>
                  </a:lnTo>
                  <a:lnTo>
                    <a:pt x="1371" y="1289"/>
                  </a:lnTo>
                  <a:lnTo>
                    <a:pt x="1350" y="1271"/>
                  </a:lnTo>
                  <a:lnTo>
                    <a:pt x="1329" y="1253"/>
                  </a:lnTo>
                  <a:lnTo>
                    <a:pt x="1319" y="1242"/>
                  </a:lnTo>
                  <a:lnTo>
                    <a:pt x="1309" y="1232"/>
                  </a:lnTo>
                  <a:lnTo>
                    <a:pt x="1292" y="1211"/>
                  </a:lnTo>
                  <a:lnTo>
                    <a:pt x="1273" y="1188"/>
                  </a:lnTo>
                  <a:lnTo>
                    <a:pt x="1257" y="1163"/>
                  </a:lnTo>
                  <a:lnTo>
                    <a:pt x="1241" y="1137"/>
                  </a:lnTo>
                  <a:lnTo>
                    <a:pt x="1226" y="1109"/>
                  </a:lnTo>
                  <a:lnTo>
                    <a:pt x="1219" y="1095"/>
                  </a:lnTo>
                  <a:lnTo>
                    <a:pt x="1212" y="1081"/>
                  </a:lnTo>
                  <a:lnTo>
                    <a:pt x="1200" y="1050"/>
                  </a:lnTo>
                  <a:lnTo>
                    <a:pt x="1189" y="1018"/>
                  </a:lnTo>
                  <a:lnTo>
                    <a:pt x="1178" y="984"/>
                  </a:lnTo>
                  <a:lnTo>
                    <a:pt x="1174" y="966"/>
                  </a:lnTo>
                  <a:lnTo>
                    <a:pt x="1170" y="947"/>
                  </a:lnTo>
                  <a:lnTo>
                    <a:pt x="1165" y="930"/>
                  </a:lnTo>
                  <a:lnTo>
                    <a:pt x="1162" y="911"/>
                  </a:lnTo>
                  <a:lnTo>
                    <a:pt x="1155" y="872"/>
                  </a:lnTo>
                  <a:lnTo>
                    <a:pt x="1151" y="830"/>
                  </a:lnTo>
                  <a:lnTo>
                    <a:pt x="1146" y="788"/>
                  </a:lnTo>
                  <a:lnTo>
                    <a:pt x="1146" y="767"/>
                  </a:lnTo>
                  <a:lnTo>
                    <a:pt x="1145" y="744"/>
                  </a:lnTo>
                  <a:lnTo>
                    <a:pt x="1144" y="699"/>
                  </a:lnTo>
                  <a:lnTo>
                    <a:pt x="1145" y="651"/>
                  </a:lnTo>
                  <a:lnTo>
                    <a:pt x="1146" y="629"/>
                  </a:lnTo>
                  <a:lnTo>
                    <a:pt x="1148" y="608"/>
                  </a:lnTo>
                  <a:lnTo>
                    <a:pt x="1151" y="564"/>
                  </a:lnTo>
                  <a:lnTo>
                    <a:pt x="1155" y="524"/>
                  </a:lnTo>
                  <a:lnTo>
                    <a:pt x="1162" y="483"/>
                  </a:lnTo>
                  <a:lnTo>
                    <a:pt x="1165" y="464"/>
                  </a:lnTo>
                  <a:lnTo>
                    <a:pt x="1170" y="446"/>
                  </a:lnTo>
                  <a:lnTo>
                    <a:pt x="1178" y="411"/>
                  </a:lnTo>
                  <a:lnTo>
                    <a:pt x="1189" y="376"/>
                  </a:lnTo>
                  <a:lnTo>
                    <a:pt x="1200" y="343"/>
                  </a:lnTo>
                  <a:lnTo>
                    <a:pt x="1206" y="327"/>
                  </a:lnTo>
                  <a:lnTo>
                    <a:pt x="1213" y="313"/>
                  </a:lnTo>
                  <a:lnTo>
                    <a:pt x="1226" y="284"/>
                  </a:lnTo>
                  <a:lnTo>
                    <a:pt x="1241" y="255"/>
                  </a:lnTo>
                  <a:lnTo>
                    <a:pt x="1257" y="229"/>
                  </a:lnTo>
                  <a:lnTo>
                    <a:pt x="1274" y="204"/>
                  </a:lnTo>
                  <a:lnTo>
                    <a:pt x="1292" y="181"/>
                  </a:lnTo>
                  <a:lnTo>
                    <a:pt x="1300" y="171"/>
                  </a:lnTo>
                  <a:lnTo>
                    <a:pt x="1310" y="159"/>
                  </a:lnTo>
                  <a:lnTo>
                    <a:pt x="1331" y="139"/>
                  </a:lnTo>
                  <a:lnTo>
                    <a:pt x="1351" y="122"/>
                  </a:lnTo>
                  <a:lnTo>
                    <a:pt x="1361" y="112"/>
                  </a:lnTo>
                  <a:lnTo>
                    <a:pt x="1371" y="104"/>
                  </a:lnTo>
                  <a:lnTo>
                    <a:pt x="1395" y="88"/>
                  </a:lnTo>
                  <a:lnTo>
                    <a:pt x="1418" y="74"/>
                  </a:lnTo>
                  <a:lnTo>
                    <a:pt x="1429" y="67"/>
                  </a:lnTo>
                  <a:lnTo>
                    <a:pt x="1441" y="61"/>
                  </a:lnTo>
                  <a:lnTo>
                    <a:pt x="1466" y="49"/>
                  </a:lnTo>
                  <a:lnTo>
                    <a:pt x="1490" y="38"/>
                  </a:lnTo>
                  <a:lnTo>
                    <a:pt x="1517" y="29"/>
                  </a:lnTo>
                  <a:lnTo>
                    <a:pt x="1543" y="22"/>
                  </a:lnTo>
                  <a:lnTo>
                    <a:pt x="1570" y="15"/>
                  </a:lnTo>
                  <a:lnTo>
                    <a:pt x="1598" y="10"/>
                  </a:lnTo>
                  <a:lnTo>
                    <a:pt x="1625" y="6"/>
                  </a:lnTo>
                  <a:lnTo>
                    <a:pt x="1654" y="3"/>
                  </a:lnTo>
                  <a:lnTo>
                    <a:pt x="1683" y="2"/>
                  </a:lnTo>
                  <a:lnTo>
                    <a:pt x="1712" y="0"/>
                  </a:lnTo>
                  <a:lnTo>
                    <a:pt x="1741" y="2"/>
                  </a:lnTo>
                  <a:lnTo>
                    <a:pt x="1771" y="3"/>
                  </a:lnTo>
                  <a:lnTo>
                    <a:pt x="1798" y="6"/>
                  </a:lnTo>
                  <a:lnTo>
                    <a:pt x="1827" y="10"/>
                  </a:lnTo>
                  <a:lnTo>
                    <a:pt x="1855" y="15"/>
                  </a:lnTo>
                  <a:lnTo>
                    <a:pt x="1868" y="18"/>
                  </a:lnTo>
                  <a:lnTo>
                    <a:pt x="1881" y="22"/>
                  </a:lnTo>
                  <a:lnTo>
                    <a:pt x="1907" y="29"/>
                  </a:lnTo>
                  <a:lnTo>
                    <a:pt x="1933" y="38"/>
                  </a:lnTo>
                  <a:lnTo>
                    <a:pt x="1958" y="49"/>
                  </a:lnTo>
                  <a:lnTo>
                    <a:pt x="1982" y="61"/>
                  </a:lnTo>
                  <a:lnTo>
                    <a:pt x="2007" y="74"/>
                  </a:lnTo>
                  <a:lnTo>
                    <a:pt x="2030" y="88"/>
                  </a:lnTo>
                  <a:lnTo>
                    <a:pt x="2052" y="104"/>
                  </a:lnTo>
                  <a:lnTo>
                    <a:pt x="2062" y="112"/>
                  </a:lnTo>
                  <a:lnTo>
                    <a:pt x="2074" y="122"/>
                  </a:lnTo>
                  <a:lnTo>
                    <a:pt x="2094" y="139"/>
                  </a:lnTo>
                  <a:lnTo>
                    <a:pt x="2104" y="149"/>
                  </a:lnTo>
                  <a:lnTo>
                    <a:pt x="2114" y="159"/>
                  </a:lnTo>
                  <a:lnTo>
                    <a:pt x="2123" y="171"/>
                  </a:lnTo>
                  <a:lnTo>
                    <a:pt x="2132" y="181"/>
                  </a:lnTo>
                  <a:lnTo>
                    <a:pt x="2151" y="204"/>
                  </a:lnTo>
                  <a:lnTo>
                    <a:pt x="2167" y="229"/>
                  </a:lnTo>
                  <a:lnTo>
                    <a:pt x="2183" y="255"/>
                  </a:lnTo>
                  <a:lnTo>
                    <a:pt x="2190" y="269"/>
                  </a:lnTo>
                  <a:lnTo>
                    <a:pt x="2197" y="284"/>
                  </a:lnTo>
                  <a:lnTo>
                    <a:pt x="2212" y="313"/>
                  </a:lnTo>
                  <a:lnTo>
                    <a:pt x="2218" y="327"/>
                  </a:lnTo>
                  <a:lnTo>
                    <a:pt x="2225" y="343"/>
                  </a:lnTo>
                  <a:lnTo>
                    <a:pt x="2235" y="376"/>
                  </a:lnTo>
                  <a:lnTo>
                    <a:pt x="2245" y="411"/>
                  </a:lnTo>
                  <a:lnTo>
                    <a:pt x="2255" y="446"/>
                  </a:lnTo>
                  <a:lnTo>
                    <a:pt x="2258" y="464"/>
                  </a:lnTo>
                  <a:lnTo>
                    <a:pt x="2262" y="483"/>
                  </a:lnTo>
                  <a:lnTo>
                    <a:pt x="2268" y="524"/>
                  </a:lnTo>
                  <a:lnTo>
                    <a:pt x="2274" y="564"/>
                  </a:lnTo>
                  <a:lnTo>
                    <a:pt x="2277" y="608"/>
                  </a:lnTo>
                  <a:lnTo>
                    <a:pt x="2278" y="629"/>
                  </a:lnTo>
                  <a:lnTo>
                    <a:pt x="2280" y="651"/>
                  </a:lnTo>
                  <a:lnTo>
                    <a:pt x="2280" y="699"/>
                  </a:lnTo>
                  <a:lnTo>
                    <a:pt x="2280" y="735"/>
                  </a:lnTo>
                  <a:lnTo>
                    <a:pt x="2278" y="770"/>
                  </a:lnTo>
                  <a:lnTo>
                    <a:pt x="2277" y="787"/>
                  </a:lnTo>
                  <a:lnTo>
                    <a:pt x="1459" y="787"/>
                  </a:lnTo>
                  <a:lnTo>
                    <a:pt x="1460" y="793"/>
                  </a:lnTo>
                  <a:lnTo>
                    <a:pt x="1460" y="810"/>
                  </a:lnTo>
                  <a:lnTo>
                    <a:pt x="1461" y="826"/>
                  </a:lnTo>
                  <a:lnTo>
                    <a:pt x="1466" y="858"/>
                  </a:lnTo>
                  <a:lnTo>
                    <a:pt x="1472" y="888"/>
                  </a:lnTo>
                  <a:lnTo>
                    <a:pt x="1474" y="903"/>
                  </a:lnTo>
                  <a:lnTo>
                    <a:pt x="1479" y="917"/>
                  </a:lnTo>
                  <a:lnTo>
                    <a:pt x="1489" y="943"/>
                  </a:lnTo>
                  <a:lnTo>
                    <a:pt x="1493" y="956"/>
                  </a:lnTo>
                  <a:lnTo>
                    <a:pt x="1499" y="969"/>
                  </a:lnTo>
                  <a:lnTo>
                    <a:pt x="1506" y="981"/>
                  </a:lnTo>
                  <a:lnTo>
                    <a:pt x="1512" y="992"/>
                  </a:lnTo>
                  <a:lnTo>
                    <a:pt x="1519" y="1002"/>
                  </a:lnTo>
                  <a:lnTo>
                    <a:pt x="1528" y="1013"/>
                  </a:lnTo>
                  <a:lnTo>
                    <a:pt x="1535" y="1023"/>
                  </a:lnTo>
                  <a:lnTo>
                    <a:pt x="1544" y="1031"/>
                  </a:lnTo>
                  <a:lnTo>
                    <a:pt x="1553" y="1040"/>
                  </a:lnTo>
                  <a:lnTo>
                    <a:pt x="1563" y="1049"/>
                  </a:lnTo>
                  <a:lnTo>
                    <a:pt x="1573" y="1056"/>
                  </a:lnTo>
                  <a:lnTo>
                    <a:pt x="1583" y="1063"/>
                  </a:lnTo>
                  <a:lnTo>
                    <a:pt x="1593" y="1069"/>
                  </a:lnTo>
                  <a:lnTo>
                    <a:pt x="1605" y="1075"/>
                  </a:lnTo>
                  <a:lnTo>
                    <a:pt x="1617" y="1079"/>
                  </a:lnTo>
                  <a:lnTo>
                    <a:pt x="1628" y="1083"/>
                  </a:lnTo>
                  <a:lnTo>
                    <a:pt x="1641" y="1088"/>
                  </a:lnTo>
                  <a:lnTo>
                    <a:pt x="1654" y="1091"/>
                  </a:lnTo>
                  <a:lnTo>
                    <a:pt x="1667" y="1094"/>
                  </a:lnTo>
                  <a:lnTo>
                    <a:pt x="1682" y="1095"/>
                  </a:lnTo>
                  <a:lnTo>
                    <a:pt x="1697" y="1096"/>
                  </a:lnTo>
                  <a:lnTo>
                    <a:pt x="1711" y="1096"/>
                  </a:lnTo>
                  <a:lnTo>
                    <a:pt x="1734" y="1096"/>
                  </a:lnTo>
                  <a:lnTo>
                    <a:pt x="1757" y="1094"/>
                  </a:lnTo>
                  <a:lnTo>
                    <a:pt x="1768" y="1091"/>
                  </a:lnTo>
                  <a:lnTo>
                    <a:pt x="1778" y="1089"/>
                  </a:lnTo>
                  <a:lnTo>
                    <a:pt x="1798" y="1083"/>
                  </a:lnTo>
                  <a:lnTo>
                    <a:pt x="1817" y="1076"/>
                  </a:lnTo>
                  <a:lnTo>
                    <a:pt x="1834" y="1067"/>
                  </a:lnTo>
                  <a:lnTo>
                    <a:pt x="1852" y="1059"/>
                  </a:lnTo>
                  <a:lnTo>
                    <a:pt x="1866" y="1049"/>
                  </a:lnTo>
                  <a:lnTo>
                    <a:pt x="1874" y="1043"/>
                  </a:lnTo>
                  <a:lnTo>
                    <a:pt x="1881" y="1037"/>
                  </a:lnTo>
                  <a:lnTo>
                    <a:pt x="1894" y="1026"/>
                  </a:lnTo>
                  <a:lnTo>
                    <a:pt x="1905" y="1013"/>
                  </a:lnTo>
                  <a:lnTo>
                    <a:pt x="1916" y="1000"/>
                  </a:lnTo>
                  <a:lnTo>
                    <a:pt x="1926" y="987"/>
                  </a:lnTo>
                  <a:lnTo>
                    <a:pt x="1935" y="972"/>
                  </a:lnTo>
                  <a:lnTo>
                    <a:pt x="1940" y="959"/>
                  </a:lnTo>
                  <a:lnTo>
                    <a:pt x="1946" y="945"/>
                  </a:lnTo>
                  <a:lnTo>
                    <a:pt x="1949" y="939"/>
                  </a:lnTo>
                  <a:lnTo>
                    <a:pt x="2265" y="939"/>
                  </a:lnTo>
                  <a:lnTo>
                    <a:pt x="2262" y="955"/>
                  </a:lnTo>
                  <a:close/>
                  <a:moveTo>
                    <a:pt x="1712" y="269"/>
                  </a:moveTo>
                  <a:lnTo>
                    <a:pt x="1699" y="271"/>
                  </a:lnTo>
                  <a:lnTo>
                    <a:pt x="1685" y="272"/>
                  </a:lnTo>
                  <a:lnTo>
                    <a:pt x="1672" y="274"/>
                  </a:lnTo>
                  <a:lnTo>
                    <a:pt x="1659" y="276"/>
                  </a:lnTo>
                  <a:lnTo>
                    <a:pt x="1647" y="279"/>
                  </a:lnTo>
                  <a:lnTo>
                    <a:pt x="1636" y="282"/>
                  </a:lnTo>
                  <a:lnTo>
                    <a:pt x="1624" y="287"/>
                  </a:lnTo>
                  <a:lnTo>
                    <a:pt x="1614" y="292"/>
                  </a:lnTo>
                  <a:lnTo>
                    <a:pt x="1593" y="304"/>
                  </a:lnTo>
                  <a:lnTo>
                    <a:pt x="1583" y="310"/>
                  </a:lnTo>
                  <a:lnTo>
                    <a:pt x="1575" y="317"/>
                  </a:lnTo>
                  <a:lnTo>
                    <a:pt x="1566" y="324"/>
                  </a:lnTo>
                  <a:lnTo>
                    <a:pt x="1559" y="331"/>
                  </a:lnTo>
                  <a:lnTo>
                    <a:pt x="1543" y="347"/>
                  </a:lnTo>
                  <a:lnTo>
                    <a:pt x="1537" y="356"/>
                  </a:lnTo>
                  <a:lnTo>
                    <a:pt x="1530" y="365"/>
                  </a:lnTo>
                  <a:lnTo>
                    <a:pt x="1518" y="382"/>
                  </a:lnTo>
                  <a:lnTo>
                    <a:pt x="1508" y="399"/>
                  </a:lnTo>
                  <a:lnTo>
                    <a:pt x="1501" y="418"/>
                  </a:lnTo>
                  <a:lnTo>
                    <a:pt x="1493" y="436"/>
                  </a:lnTo>
                  <a:lnTo>
                    <a:pt x="1488" y="454"/>
                  </a:lnTo>
                  <a:lnTo>
                    <a:pt x="1483" y="472"/>
                  </a:lnTo>
                  <a:lnTo>
                    <a:pt x="1480" y="488"/>
                  </a:lnTo>
                  <a:lnTo>
                    <a:pt x="1479" y="514"/>
                  </a:lnTo>
                  <a:lnTo>
                    <a:pt x="1949" y="514"/>
                  </a:lnTo>
                  <a:lnTo>
                    <a:pt x="1948" y="488"/>
                  </a:lnTo>
                  <a:lnTo>
                    <a:pt x="1945" y="472"/>
                  </a:lnTo>
                  <a:lnTo>
                    <a:pt x="1940" y="454"/>
                  </a:lnTo>
                  <a:lnTo>
                    <a:pt x="1935" y="436"/>
                  </a:lnTo>
                  <a:lnTo>
                    <a:pt x="1927" y="418"/>
                  </a:lnTo>
                  <a:lnTo>
                    <a:pt x="1923" y="409"/>
                  </a:lnTo>
                  <a:lnTo>
                    <a:pt x="1919" y="399"/>
                  </a:lnTo>
                  <a:lnTo>
                    <a:pt x="1908" y="382"/>
                  </a:lnTo>
                  <a:lnTo>
                    <a:pt x="1897" y="365"/>
                  </a:lnTo>
                  <a:lnTo>
                    <a:pt x="1884" y="347"/>
                  </a:lnTo>
                  <a:lnTo>
                    <a:pt x="1869" y="331"/>
                  </a:lnTo>
                  <a:lnTo>
                    <a:pt x="1852" y="317"/>
                  </a:lnTo>
                  <a:lnTo>
                    <a:pt x="1843" y="310"/>
                  </a:lnTo>
                  <a:lnTo>
                    <a:pt x="1833" y="304"/>
                  </a:lnTo>
                  <a:lnTo>
                    <a:pt x="1823" y="298"/>
                  </a:lnTo>
                  <a:lnTo>
                    <a:pt x="1813" y="292"/>
                  </a:lnTo>
                  <a:lnTo>
                    <a:pt x="1802" y="287"/>
                  </a:lnTo>
                  <a:lnTo>
                    <a:pt x="1791" y="282"/>
                  </a:lnTo>
                  <a:lnTo>
                    <a:pt x="1779" y="279"/>
                  </a:lnTo>
                  <a:lnTo>
                    <a:pt x="1768" y="276"/>
                  </a:lnTo>
                  <a:lnTo>
                    <a:pt x="1755" y="274"/>
                  </a:lnTo>
                  <a:lnTo>
                    <a:pt x="1741" y="272"/>
                  </a:lnTo>
                  <a:lnTo>
                    <a:pt x="1727" y="271"/>
                  </a:lnTo>
                  <a:lnTo>
                    <a:pt x="1712" y="269"/>
                  </a:lnTo>
                  <a:close/>
                  <a:moveTo>
                    <a:pt x="4358" y="25"/>
                  </a:moveTo>
                  <a:lnTo>
                    <a:pt x="4659" y="25"/>
                  </a:lnTo>
                  <a:lnTo>
                    <a:pt x="4659" y="694"/>
                  </a:lnTo>
                  <a:lnTo>
                    <a:pt x="4659" y="1364"/>
                  </a:lnTo>
                  <a:lnTo>
                    <a:pt x="4358" y="1364"/>
                  </a:lnTo>
                  <a:lnTo>
                    <a:pt x="4358" y="694"/>
                  </a:lnTo>
                  <a:lnTo>
                    <a:pt x="4358" y="25"/>
                  </a:lnTo>
                  <a:close/>
                  <a:moveTo>
                    <a:pt x="5303" y="454"/>
                  </a:moveTo>
                  <a:lnTo>
                    <a:pt x="5303" y="1364"/>
                  </a:lnTo>
                  <a:lnTo>
                    <a:pt x="5001" y="1364"/>
                  </a:lnTo>
                  <a:lnTo>
                    <a:pt x="5001" y="450"/>
                  </a:lnTo>
                  <a:lnTo>
                    <a:pt x="5002" y="427"/>
                  </a:lnTo>
                  <a:lnTo>
                    <a:pt x="5004" y="404"/>
                  </a:lnTo>
                  <a:lnTo>
                    <a:pt x="5005" y="382"/>
                  </a:lnTo>
                  <a:lnTo>
                    <a:pt x="5010" y="359"/>
                  </a:lnTo>
                  <a:lnTo>
                    <a:pt x="5013" y="337"/>
                  </a:lnTo>
                  <a:lnTo>
                    <a:pt x="5018" y="315"/>
                  </a:lnTo>
                  <a:lnTo>
                    <a:pt x="5024" y="295"/>
                  </a:lnTo>
                  <a:lnTo>
                    <a:pt x="5031" y="275"/>
                  </a:lnTo>
                  <a:lnTo>
                    <a:pt x="5039" y="255"/>
                  </a:lnTo>
                  <a:lnTo>
                    <a:pt x="5047" y="236"/>
                  </a:lnTo>
                  <a:lnTo>
                    <a:pt x="5053" y="226"/>
                  </a:lnTo>
                  <a:lnTo>
                    <a:pt x="5058" y="217"/>
                  </a:lnTo>
                  <a:lnTo>
                    <a:pt x="5068" y="198"/>
                  </a:lnTo>
                  <a:lnTo>
                    <a:pt x="5079" y="181"/>
                  </a:lnTo>
                  <a:lnTo>
                    <a:pt x="5092" y="164"/>
                  </a:lnTo>
                  <a:lnTo>
                    <a:pt x="5105" y="148"/>
                  </a:lnTo>
                  <a:lnTo>
                    <a:pt x="5119" y="132"/>
                  </a:lnTo>
                  <a:lnTo>
                    <a:pt x="5133" y="117"/>
                  </a:lnTo>
                  <a:lnTo>
                    <a:pt x="5149" y="103"/>
                  </a:lnTo>
                  <a:lnTo>
                    <a:pt x="5165" y="90"/>
                  </a:lnTo>
                  <a:lnTo>
                    <a:pt x="5182" y="77"/>
                  </a:lnTo>
                  <a:lnTo>
                    <a:pt x="5200" y="65"/>
                  </a:lnTo>
                  <a:lnTo>
                    <a:pt x="5219" y="55"/>
                  </a:lnTo>
                  <a:lnTo>
                    <a:pt x="5229" y="49"/>
                  </a:lnTo>
                  <a:lnTo>
                    <a:pt x="5239" y="45"/>
                  </a:lnTo>
                  <a:lnTo>
                    <a:pt x="5259" y="36"/>
                  </a:lnTo>
                  <a:lnTo>
                    <a:pt x="5280" y="28"/>
                  </a:lnTo>
                  <a:lnTo>
                    <a:pt x="5301" y="20"/>
                  </a:lnTo>
                  <a:lnTo>
                    <a:pt x="5325" y="15"/>
                  </a:lnTo>
                  <a:lnTo>
                    <a:pt x="5348" y="10"/>
                  </a:lnTo>
                  <a:lnTo>
                    <a:pt x="5371" y="6"/>
                  </a:lnTo>
                  <a:lnTo>
                    <a:pt x="5396" y="3"/>
                  </a:lnTo>
                  <a:lnTo>
                    <a:pt x="5420" y="2"/>
                  </a:lnTo>
                  <a:lnTo>
                    <a:pt x="5447" y="2"/>
                  </a:lnTo>
                  <a:lnTo>
                    <a:pt x="5474" y="2"/>
                  </a:lnTo>
                  <a:lnTo>
                    <a:pt x="5500" y="3"/>
                  </a:lnTo>
                  <a:lnTo>
                    <a:pt x="5525" y="6"/>
                  </a:lnTo>
                  <a:lnTo>
                    <a:pt x="5550" y="10"/>
                  </a:lnTo>
                  <a:lnTo>
                    <a:pt x="5573" y="15"/>
                  </a:lnTo>
                  <a:lnTo>
                    <a:pt x="5596" y="20"/>
                  </a:lnTo>
                  <a:lnTo>
                    <a:pt x="5616" y="26"/>
                  </a:lnTo>
                  <a:lnTo>
                    <a:pt x="5626" y="31"/>
                  </a:lnTo>
                  <a:lnTo>
                    <a:pt x="5637" y="35"/>
                  </a:lnTo>
                  <a:lnTo>
                    <a:pt x="5657" y="42"/>
                  </a:lnTo>
                  <a:lnTo>
                    <a:pt x="5676" y="52"/>
                  </a:lnTo>
                  <a:lnTo>
                    <a:pt x="5693" y="61"/>
                  </a:lnTo>
                  <a:lnTo>
                    <a:pt x="5711" y="73"/>
                  </a:lnTo>
                  <a:lnTo>
                    <a:pt x="5727" y="84"/>
                  </a:lnTo>
                  <a:lnTo>
                    <a:pt x="5741" y="96"/>
                  </a:lnTo>
                  <a:lnTo>
                    <a:pt x="5756" y="109"/>
                  </a:lnTo>
                  <a:lnTo>
                    <a:pt x="5770" y="122"/>
                  </a:lnTo>
                  <a:lnTo>
                    <a:pt x="5782" y="136"/>
                  </a:lnTo>
                  <a:lnTo>
                    <a:pt x="5795" y="151"/>
                  </a:lnTo>
                  <a:lnTo>
                    <a:pt x="5805" y="165"/>
                  </a:lnTo>
                  <a:lnTo>
                    <a:pt x="5817" y="181"/>
                  </a:lnTo>
                  <a:lnTo>
                    <a:pt x="5825" y="197"/>
                  </a:lnTo>
                  <a:lnTo>
                    <a:pt x="5834" y="214"/>
                  </a:lnTo>
                  <a:lnTo>
                    <a:pt x="5843" y="232"/>
                  </a:lnTo>
                  <a:lnTo>
                    <a:pt x="5850" y="249"/>
                  </a:lnTo>
                  <a:lnTo>
                    <a:pt x="5857" y="266"/>
                  </a:lnTo>
                  <a:lnTo>
                    <a:pt x="5863" y="285"/>
                  </a:lnTo>
                  <a:lnTo>
                    <a:pt x="5869" y="304"/>
                  </a:lnTo>
                  <a:lnTo>
                    <a:pt x="5873" y="323"/>
                  </a:lnTo>
                  <a:lnTo>
                    <a:pt x="5878" y="342"/>
                  </a:lnTo>
                  <a:lnTo>
                    <a:pt x="5882" y="362"/>
                  </a:lnTo>
                  <a:lnTo>
                    <a:pt x="5885" y="381"/>
                  </a:lnTo>
                  <a:lnTo>
                    <a:pt x="5886" y="401"/>
                  </a:lnTo>
                  <a:lnTo>
                    <a:pt x="5888" y="420"/>
                  </a:lnTo>
                  <a:lnTo>
                    <a:pt x="5589" y="420"/>
                  </a:lnTo>
                  <a:lnTo>
                    <a:pt x="5586" y="405"/>
                  </a:lnTo>
                  <a:lnTo>
                    <a:pt x="5583" y="395"/>
                  </a:lnTo>
                  <a:lnTo>
                    <a:pt x="5579" y="383"/>
                  </a:lnTo>
                  <a:lnTo>
                    <a:pt x="5574" y="373"/>
                  </a:lnTo>
                  <a:lnTo>
                    <a:pt x="5570" y="363"/>
                  </a:lnTo>
                  <a:lnTo>
                    <a:pt x="5563" y="353"/>
                  </a:lnTo>
                  <a:lnTo>
                    <a:pt x="5557" y="344"/>
                  </a:lnTo>
                  <a:lnTo>
                    <a:pt x="5548" y="336"/>
                  </a:lnTo>
                  <a:lnTo>
                    <a:pt x="5539" y="329"/>
                  </a:lnTo>
                  <a:lnTo>
                    <a:pt x="5531" y="320"/>
                  </a:lnTo>
                  <a:lnTo>
                    <a:pt x="5521" y="314"/>
                  </a:lnTo>
                  <a:lnTo>
                    <a:pt x="5510" y="308"/>
                  </a:lnTo>
                  <a:lnTo>
                    <a:pt x="5499" y="304"/>
                  </a:lnTo>
                  <a:lnTo>
                    <a:pt x="5487" y="300"/>
                  </a:lnTo>
                  <a:lnTo>
                    <a:pt x="5474" y="297"/>
                  </a:lnTo>
                  <a:lnTo>
                    <a:pt x="5461" y="295"/>
                  </a:lnTo>
                  <a:lnTo>
                    <a:pt x="5447" y="294"/>
                  </a:lnTo>
                  <a:lnTo>
                    <a:pt x="5429" y="295"/>
                  </a:lnTo>
                  <a:lnTo>
                    <a:pt x="5413" y="297"/>
                  </a:lnTo>
                  <a:lnTo>
                    <a:pt x="5406" y="300"/>
                  </a:lnTo>
                  <a:lnTo>
                    <a:pt x="5399" y="301"/>
                  </a:lnTo>
                  <a:lnTo>
                    <a:pt x="5384" y="307"/>
                  </a:lnTo>
                  <a:lnTo>
                    <a:pt x="5371" y="313"/>
                  </a:lnTo>
                  <a:lnTo>
                    <a:pt x="5359" y="321"/>
                  </a:lnTo>
                  <a:lnTo>
                    <a:pt x="5348" y="330"/>
                  </a:lnTo>
                  <a:lnTo>
                    <a:pt x="5339" y="340"/>
                  </a:lnTo>
                  <a:lnTo>
                    <a:pt x="5330" y="352"/>
                  </a:lnTo>
                  <a:lnTo>
                    <a:pt x="5323" y="363"/>
                  </a:lnTo>
                  <a:lnTo>
                    <a:pt x="5317" y="376"/>
                  </a:lnTo>
                  <a:lnTo>
                    <a:pt x="5312" y="391"/>
                  </a:lnTo>
                  <a:lnTo>
                    <a:pt x="5307" y="405"/>
                  </a:lnTo>
                  <a:lnTo>
                    <a:pt x="5304" y="421"/>
                  </a:lnTo>
                  <a:lnTo>
                    <a:pt x="5303" y="437"/>
                  </a:lnTo>
                  <a:lnTo>
                    <a:pt x="5303" y="454"/>
                  </a:lnTo>
                  <a:close/>
                  <a:moveTo>
                    <a:pt x="4016" y="457"/>
                  </a:moveTo>
                  <a:lnTo>
                    <a:pt x="4016" y="1364"/>
                  </a:lnTo>
                  <a:lnTo>
                    <a:pt x="3715" y="1364"/>
                  </a:lnTo>
                  <a:lnTo>
                    <a:pt x="3715" y="453"/>
                  </a:lnTo>
                  <a:lnTo>
                    <a:pt x="3715" y="436"/>
                  </a:lnTo>
                  <a:lnTo>
                    <a:pt x="3712" y="420"/>
                  </a:lnTo>
                  <a:lnTo>
                    <a:pt x="3709" y="404"/>
                  </a:lnTo>
                  <a:lnTo>
                    <a:pt x="3705" y="389"/>
                  </a:lnTo>
                  <a:lnTo>
                    <a:pt x="3699" y="376"/>
                  </a:lnTo>
                  <a:lnTo>
                    <a:pt x="3692" y="362"/>
                  </a:lnTo>
                  <a:lnTo>
                    <a:pt x="3683" y="350"/>
                  </a:lnTo>
                  <a:lnTo>
                    <a:pt x="3673" y="339"/>
                  </a:lnTo>
                  <a:lnTo>
                    <a:pt x="3663" y="329"/>
                  </a:lnTo>
                  <a:lnTo>
                    <a:pt x="3653" y="320"/>
                  </a:lnTo>
                  <a:lnTo>
                    <a:pt x="3641" y="313"/>
                  </a:lnTo>
                  <a:lnTo>
                    <a:pt x="3634" y="308"/>
                  </a:lnTo>
                  <a:lnTo>
                    <a:pt x="3628" y="305"/>
                  </a:lnTo>
                  <a:lnTo>
                    <a:pt x="3615" y="301"/>
                  </a:lnTo>
                  <a:lnTo>
                    <a:pt x="3608" y="298"/>
                  </a:lnTo>
                  <a:lnTo>
                    <a:pt x="3601" y="297"/>
                  </a:lnTo>
                  <a:lnTo>
                    <a:pt x="3586" y="295"/>
                  </a:lnTo>
                  <a:lnTo>
                    <a:pt x="3572" y="294"/>
                  </a:lnTo>
                  <a:lnTo>
                    <a:pt x="3557" y="295"/>
                  </a:lnTo>
                  <a:lnTo>
                    <a:pt x="3542" y="297"/>
                  </a:lnTo>
                  <a:lnTo>
                    <a:pt x="3529" y="301"/>
                  </a:lnTo>
                  <a:lnTo>
                    <a:pt x="3515" y="307"/>
                  </a:lnTo>
                  <a:lnTo>
                    <a:pt x="3503" y="313"/>
                  </a:lnTo>
                  <a:lnTo>
                    <a:pt x="3492" y="321"/>
                  </a:lnTo>
                  <a:lnTo>
                    <a:pt x="3480" y="331"/>
                  </a:lnTo>
                  <a:lnTo>
                    <a:pt x="3470" y="342"/>
                  </a:lnTo>
                  <a:lnTo>
                    <a:pt x="3460" y="353"/>
                  </a:lnTo>
                  <a:lnTo>
                    <a:pt x="3451" y="365"/>
                  </a:lnTo>
                  <a:lnTo>
                    <a:pt x="3444" y="379"/>
                  </a:lnTo>
                  <a:lnTo>
                    <a:pt x="3438" y="392"/>
                  </a:lnTo>
                  <a:lnTo>
                    <a:pt x="3434" y="408"/>
                  </a:lnTo>
                  <a:lnTo>
                    <a:pt x="3429" y="423"/>
                  </a:lnTo>
                  <a:lnTo>
                    <a:pt x="3428" y="438"/>
                  </a:lnTo>
                  <a:lnTo>
                    <a:pt x="3426" y="456"/>
                  </a:lnTo>
                  <a:lnTo>
                    <a:pt x="3426" y="1364"/>
                  </a:lnTo>
                  <a:lnTo>
                    <a:pt x="3132" y="1364"/>
                  </a:lnTo>
                  <a:lnTo>
                    <a:pt x="3132" y="456"/>
                  </a:lnTo>
                  <a:lnTo>
                    <a:pt x="3130" y="438"/>
                  </a:lnTo>
                  <a:lnTo>
                    <a:pt x="3129" y="431"/>
                  </a:lnTo>
                  <a:lnTo>
                    <a:pt x="3129" y="423"/>
                  </a:lnTo>
                  <a:lnTo>
                    <a:pt x="3125" y="408"/>
                  </a:lnTo>
                  <a:lnTo>
                    <a:pt x="3122" y="399"/>
                  </a:lnTo>
                  <a:lnTo>
                    <a:pt x="3120" y="392"/>
                  </a:lnTo>
                  <a:lnTo>
                    <a:pt x="3113" y="379"/>
                  </a:lnTo>
                  <a:lnTo>
                    <a:pt x="3106" y="365"/>
                  </a:lnTo>
                  <a:lnTo>
                    <a:pt x="3098" y="353"/>
                  </a:lnTo>
                  <a:lnTo>
                    <a:pt x="3088" y="342"/>
                  </a:lnTo>
                  <a:lnTo>
                    <a:pt x="3078" y="331"/>
                  </a:lnTo>
                  <a:lnTo>
                    <a:pt x="3066" y="321"/>
                  </a:lnTo>
                  <a:lnTo>
                    <a:pt x="3055" y="313"/>
                  </a:lnTo>
                  <a:lnTo>
                    <a:pt x="3042" y="307"/>
                  </a:lnTo>
                  <a:lnTo>
                    <a:pt x="3036" y="304"/>
                  </a:lnTo>
                  <a:lnTo>
                    <a:pt x="3029" y="301"/>
                  </a:lnTo>
                  <a:lnTo>
                    <a:pt x="3016" y="297"/>
                  </a:lnTo>
                  <a:lnTo>
                    <a:pt x="3001" y="295"/>
                  </a:lnTo>
                  <a:lnTo>
                    <a:pt x="2994" y="294"/>
                  </a:lnTo>
                  <a:lnTo>
                    <a:pt x="2987" y="294"/>
                  </a:lnTo>
                  <a:lnTo>
                    <a:pt x="2972" y="295"/>
                  </a:lnTo>
                  <a:lnTo>
                    <a:pt x="2958" y="297"/>
                  </a:lnTo>
                  <a:lnTo>
                    <a:pt x="2943" y="301"/>
                  </a:lnTo>
                  <a:lnTo>
                    <a:pt x="2930" y="305"/>
                  </a:lnTo>
                  <a:lnTo>
                    <a:pt x="2917" y="313"/>
                  </a:lnTo>
                  <a:lnTo>
                    <a:pt x="2905" y="320"/>
                  </a:lnTo>
                  <a:lnTo>
                    <a:pt x="2894" y="329"/>
                  </a:lnTo>
                  <a:lnTo>
                    <a:pt x="2884" y="339"/>
                  </a:lnTo>
                  <a:lnTo>
                    <a:pt x="2875" y="350"/>
                  </a:lnTo>
                  <a:lnTo>
                    <a:pt x="2866" y="362"/>
                  </a:lnTo>
                  <a:lnTo>
                    <a:pt x="2859" y="376"/>
                  </a:lnTo>
                  <a:lnTo>
                    <a:pt x="2853" y="389"/>
                  </a:lnTo>
                  <a:lnTo>
                    <a:pt x="2849" y="404"/>
                  </a:lnTo>
                  <a:lnTo>
                    <a:pt x="2844" y="420"/>
                  </a:lnTo>
                  <a:lnTo>
                    <a:pt x="2843" y="436"/>
                  </a:lnTo>
                  <a:lnTo>
                    <a:pt x="2842" y="453"/>
                  </a:lnTo>
                  <a:lnTo>
                    <a:pt x="2842" y="1364"/>
                  </a:lnTo>
                  <a:lnTo>
                    <a:pt x="2543" y="1364"/>
                  </a:lnTo>
                  <a:lnTo>
                    <a:pt x="2543" y="457"/>
                  </a:lnTo>
                  <a:lnTo>
                    <a:pt x="2544" y="434"/>
                  </a:lnTo>
                  <a:lnTo>
                    <a:pt x="2545" y="411"/>
                  </a:lnTo>
                  <a:lnTo>
                    <a:pt x="2547" y="388"/>
                  </a:lnTo>
                  <a:lnTo>
                    <a:pt x="2551" y="366"/>
                  </a:lnTo>
                  <a:lnTo>
                    <a:pt x="2556" y="343"/>
                  </a:lnTo>
                  <a:lnTo>
                    <a:pt x="2560" y="321"/>
                  </a:lnTo>
                  <a:lnTo>
                    <a:pt x="2566" y="301"/>
                  </a:lnTo>
                  <a:lnTo>
                    <a:pt x="2573" y="279"/>
                  </a:lnTo>
                  <a:lnTo>
                    <a:pt x="2582" y="259"/>
                  </a:lnTo>
                  <a:lnTo>
                    <a:pt x="2590" y="240"/>
                  </a:lnTo>
                  <a:lnTo>
                    <a:pt x="2595" y="230"/>
                  </a:lnTo>
                  <a:lnTo>
                    <a:pt x="2599" y="220"/>
                  </a:lnTo>
                  <a:lnTo>
                    <a:pt x="2611" y="201"/>
                  </a:lnTo>
                  <a:lnTo>
                    <a:pt x="2622" y="184"/>
                  </a:lnTo>
                  <a:lnTo>
                    <a:pt x="2634" y="167"/>
                  </a:lnTo>
                  <a:lnTo>
                    <a:pt x="2647" y="151"/>
                  </a:lnTo>
                  <a:lnTo>
                    <a:pt x="2654" y="142"/>
                  </a:lnTo>
                  <a:lnTo>
                    <a:pt x="2662" y="135"/>
                  </a:lnTo>
                  <a:lnTo>
                    <a:pt x="2676" y="119"/>
                  </a:lnTo>
                  <a:lnTo>
                    <a:pt x="2692" y="104"/>
                  </a:lnTo>
                  <a:lnTo>
                    <a:pt x="2708" y="91"/>
                  </a:lnTo>
                  <a:lnTo>
                    <a:pt x="2725" y="78"/>
                  </a:lnTo>
                  <a:lnTo>
                    <a:pt x="2743" y="67"/>
                  </a:lnTo>
                  <a:lnTo>
                    <a:pt x="2753" y="61"/>
                  </a:lnTo>
                  <a:lnTo>
                    <a:pt x="2762" y="55"/>
                  </a:lnTo>
                  <a:lnTo>
                    <a:pt x="2782" y="45"/>
                  </a:lnTo>
                  <a:lnTo>
                    <a:pt x="2802" y="36"/>
                  </a:lnTo>
                  <a:lnTo>
                    <a:pt x="2823" y="28"/>
                  </a:lnTo>
                  <a:lnTo>
                    <a:pt x="2844" y="20"/>
                  </a:lnTo>
                  <a:lnTo>
                    <a:pt x="2868" y="15"/>
                  </a:lnTo>
                  <a:lnTo>
                    <a:pt x="2891" y="10"/>
                  </a:lnTo>
                  <a:lnTo>
                    <a:pt x="2914" y="6"/>
                  </a:lnTo>
                  <a:lnTo>
                    <a:pt x="2939" y="3"/>
                  </a:lnTo>
                  <a:lnTo>
                    <a:pt x="2965" y="2"/>
                  </a:lnTo>
                  <a:lnTo>
                    <a:pt x="2991" y="2"/>
                  </a:lnTo>
                  <a:lnTo>
                    <a:pt x="3013" y="2"/>
                  </a:lnTo>
                  <a:lnTo>
                    <a:pt x="3035" y="3"/>
                  </a:lnTo>
                  <a:lnTo>
                    <a:pt x="3056" y="5"/>
                  </a:lnTo>
                  <a:lnTo>
                    <a:pt x="3077" y="9"/>
                  </a:lnTo>
                  <a:lnTo>
                    <a:pt x="3097" y="12"/>
                  </a:lnTo>
                  <a:lnTo>
                    <a:pt x="3116" y="16"/>
                  </a:lnTo>
                  <a:lnTo>
                    <a:pt x="3135" y="22"/>
                  </a:lnTo>
                  <a:lnTo>
                    <a:pt x="3154" y="28"/>
                  </a:lnTo>
                  <a:lnTo>
                    <a:pt x="3171" y="35"/>
                  </a:lnTo>
                  <a:lnTo>
                    <a:pt x="3188" y="42"/>
                  </a:lnTo>
                  <a:lnTo>
                    <a:pt x="3204" y="51"/>
                  </a:lnTo>
                  <a:lnTo>
                    <a:pt x="3220" y="60"/>
                  </a:lnTo>
                  <a:lnTo>
                    <a:pt x="3235" y="70"/>
                  </a:lnTo>
                  <a:lnTo>
                    <a:pt x="3249" y="80"/>
                  </a:lnTo>
                  <a:lnTo>
                    <a:pt x="3262" y="91"/>
                  </a:lnTo>
                  <a:lnTo>
                    <a:pt x="3275" y="103"/>
                  </a:lnTo>
                  <a:lnTo>
                    <a:pt x="3283" y="103"/>
                  </a:lnTo>
                  <a:lnTo>
                    <a:pt x="3290" y="97"/>
                  </a:lnTo>
                  <a:lnTo>
                    <a:pt x="3296" y="91"/>
                  </a:lnTo>
                  <a:lnTo>
                    <a:pt x="3310" y="80"/>
                  </a:lnTo>
                  <a:lnTo>
                    <a:pt x="3323" y="70"/>
                  </a:lnTo>
                  <a:lnTo>
                    <a:pt x="3339" y="60"/>
                  </a:lnTo>
                  <a:lnTo>
                    <a:pt x="3354" y="51"/>
                  </a:lnTo>
                  <a:lnTo>
                    <a:pt x="3371" y="42"/>
                  </a:lnTo>
                  <a:lnTo>
                    <a:pt x="3387" y="35"/>
                  </a:lnTo>
                  <a:lnTo>
                    <a:pt x="3405" y="28"/>
                  </a:lnTo>
                  <a:lnTo>
                    <a:pt x="3423" y="22"/>
                  </a:lnTo>
                  <a:lnTo>
                    <a:pt x="3442" y="16"/>
                  </a:lnTo>
                  <a:lnTo>
                    <a:pt x="3461" y="12"/>
                  </a:lnTo>
                  <a:lnTo>
                    <a:pt x="3482" y="9"/>
                  </a:lnTo>
                  <a:lnTo>
                    <a:pt x="3502" y="5"/>
                  </a:lnTo>
                  <a:lnTo>
                    <a:pt x="3524" y="3"/>
                  </a:lnTo>
                  <a:lnTo>
                    <a:pt x="3545" y="2"/>
                  </a:lnTo>
                  <a:lnTo>
                    <a:pt x="3567" y="2"/>
                  </a:lnTo>
                  <a:lnTo>
                    <a:pt x="3593" y="2"/>
                  </a:lnTo>
                  <a:lnTo>
                    <a:pt x="3606" y="2"/>
                  </a:lnTo>
                  <a:lnTo>
                    <a:pt x="3618" y="3"/>
                  </a:lnTo>
                  <a:lnTo>
                    <a:pt x="3643" y="6"/>
                  </a:lnTo>
                  <a:lnTo>
                    <a:pt x="3667" y="10"/>
                  </a:lnTo>
                  <a:lnTo>
                    <a:pt x="3691" y="15"/>
                  </a:lnTo>
                  <a:lnTo>
                    <a:pt x="3714" y="20"/>
                  </a:lnTo>
                  <a:lnTo>
                    <a:pt x="3736" y="28"/>
                  </a:lnTo>
                  <a:lnTo>
                    <a:pt x="3756" y="36"/>
                  </a:lnTo>
                  <a:lnTo>
                    <a:pt x="3776" y="45"/>
                  </a:lnTo>
                  <a:lnTo>
                    <a:pt x="3796" y="55"/>
                  </a:lnTo>
                  <a:lnTo>
                    <a:pt x="3814" y="67"/>
                  </a:lnTo>
                  <a:lnTo>
                    <a:pt x="3833" y="78"/>
                  </a:lnTo>
                  <a:lnTo>
                    <a:pt x="3850" y="91"/>
                  </a:lnTo>
                  <a:lnTo>
                    <a:pt x="3866" y="104"/>
                  </a:lnTo>
                  <a:lnTo>
                    <a:pt x="3882" y="119"/>
                  </a:lnTo>
                  <a:lnTo>
                    <a:pt x="3897" y="135"/>
                  </a:lnTo>
                  <a:lnTo>
                    <a:pt x="3911" y="151"/>
                  </a:lnTo>
                  <a:lnTo>
                    <a:pt x="3917" y="158"/>
                  </a:lnTo>
                  <a:lnTo>
                    <a:pt x="3924" y="167"/>
                  </a:lnTo>
                  <a:lnTo>
                    <a:pt x="3936" y="184"/>
                  </a:lnTo>
                  <a:lnTo>
                    <a:pt x="3947" y="201"/>
                  </a:lnTo>
                  <a:lnTo>
                    <a:pt x="3958" y="220"/>
                  </a:lnTo>
                  <a:lnTo>
                    <a:pt x="3968" y="240"/>
                  </a:lnTo>
                  <a:lnTo>
                    <a:pt x="3972" y="249"/>
                  </a:lnTo>
                  <a:lnTo>
                    <a:pt x="3976" y="259"/>
                  </a:lnTo>
                  <a:lnTo>
                    <a:pt x="3985" y="279"/>
                  </a:lnTo>
                  <a:lnTo>
                    <a:pt x="3991" y="301"/>
                  </a:lnTo>
                  <a:lnTo>
                    <a:pt x="3998" y="321"/>
                  </a:lnTo>
                  <a:lnTo>
                    <a:pt x="4003" y="343"/>
                  </a:lnTo>
                  <a:lnTo>
                    <a:pt x="4007" y="366"/>
                  </a:lnTo>
                  <a:lnTo>
                    <a:pt x="4011" y="388"/>
                  </a:lnTo>
                  <a:lnTo>
                    <a:pt x="4013" y="411"/>
                  </a:lnTo>
                  <a:lnTo>
                    <a:pt x="4014" y="434"/>
                  </a:lnTo>
                  <a:lnTo>
                    <a:pt x="4016" y="457"/>
                  </a:lnTo>
                  <a:close/>
                  <a:moveTo>
                    <a:pt x="298" y="505"/>
                  </a:moveTo>
                  <a:lnTo>
                    <a:pt x="305" y="503"/>
                  </a:lnTo>
                  <a:lnTo>
                    <a:pt x="318" y="501"/>
                  </a:lnTo>
                  <a:lnTo>
                    <a:pt x="331" y="496"/>
                  </a:lnTo>
                  <a:lnTo>
                    <a:pt x="357" y="488"/>
                  </a:lnTo>
                  <a:lnTo>
                    <a:pt x="369" y="482"/>
                  </a:lnTo>
                  <a:lnTo>
                    <a:pt x="382" y="476"/>
                  </a:lnTo>
                  <a:lnTo>
                    <a:pt x="405" y="464"/>
                  </a:lnTo>
                  <a:lnTo>
                    <a:pt x="427" y="450"/>
                  </a:lnTo>
                  <a:lnTo>
                    <a:pt x="448" y="436"/>
                  </a:lnTo>
                  <a:lnTo>
                    <a:pt x="469" y="420"/>
                  </a:lnTo>
                  <a:lnTo>
                    <a:pt x="488" y="402"/>
                  </a:lnTo>
                  <a:lnTo>
                    <a:pt x="498" y="394"/>
                  </a:lnTo>
                  <a:lnTo>
                    <a:pt x="506" y="385"/>
                  </a:lnTo>
                  <a:lnTo>
                    <a:pt x="524" y="366"/>
                  </a:lnTo>
                  <a:lnTo>
                    <a:pt x="541" y="347"/>
                  </a:lnTo>
                  <a:lnTo>
                    <a:pt x="557" y="329"/>
                  </a:lnTo>
                  <a:lnTo>
                    <a:pt x="572" y="308"/>
                  </a:lnTo>
                  <a:lnTo>
                    <a:pt x="586" y="289"/>
                  </a:lnTo>
                  <a:lnTo>
                    <a:pt x="599" y="269"/>
                  </a:lnTo>
                  <a:lnTo>
                    <a:pt x="611" y="249"/>
                  </a:lnTo>
                  <a:lnTo>
                    <a:pt x="633" y="210"/>
                  </a:lnTo>
                  <a:lnTo>
                    <a:pt x="643" y="191"/>
                  </a:lnTo>
                  <a:lnTo>
                    <a:pt x="652" y="172"/>
                  </a:lnTo>
                  <a:lnTo>
                    <a:pt x="668" y="138"/>
                  </a:lnTo>
                  <a:lnTo>
                    <a:pt x="681" y="107"/>
                  </a:lnTo>
                  <a:lnTo>
                    <a:pt x="697" y="62"/>
                  </a:lnTo>
                  <a:lnTo>
                    <a:pt x="702" y="45"/>
                  </a:lnTo>
                  <a:lnTo>
                    <a:pt x="708" y="25"/>
                  </a:lnTo>
                  <a:lnTo>
                    <a:pt x="990" y="25"/>
                  </a:lnTo>
                  <a:lnTo>
                    <a:pt x="984" y="52"/>
                  </a:lnTo>
                  <a:lnTo>
                    <a:pt x="981" y="71"/>
                  </a:lnTo>
                  <a:lnTo>
                    <a:pt x="977" y="94"/>
                  </a:lnTo>
                  <a:lnTo>
                    <a:pt x="969" y="123"/>
                  </a:lnTo>
                  <a:lnTo>
                    <a:pt x="961" y="158"/>
                  </a:lnTo>
                  <a:lnTo>
                    <a:pt x="948" y="200"/>
                  </a:lnTo>
                  <a:lnTo>
                    <a:pt x="932" y="245"/>
                  </a:lnTo>
                  <a:lnTo>
                    <a:pt x="923" y="268"/>
                  </a:lnTo>
                  <a:lnTo>
                    <a:pt x="913" y="292"/>
                  </a:lnTo>
                  <a:lnTo>
                    <a:pt x="901" y="317"/>
                  </a:lnTo>
                  <a:lnTo>
                    <a:pt x="891" y="340"/>
                  </a:lnTo>
                  <a:lnTo>
                    <a:pt x="878" y="365"/>
                  </a:lnTo>
                  <a:lnTo>
                    <a:pt x="865" y="391"/>
                  </a:lnTo>
                  <a:lnTo>
                    <a:pt x="850" y="415"/>
                  </a:lnTo>
                  <a:lnTo>
                    <a:pt x="834" y="440"/>
                  </a:lnTo>
                  <a:lnTo>
                    <a:pt x="817" y="466"/>
                  </a:lnTo>
                  <a:lnTo>
                    <a:pt x="800" y="490"/>
                  </a:lnTo>
                  <a:lnTo>
                    <a:pt x="781" y="515"/>
                  </a:lnTo>
                  <a:lnTo>
                    <a:pt x="760" y="540"/>
                  </a:lnTo>
                  <a:lnTo>
                    <a:pt x="739" y="564"/>
                  </a:lnTo>
                  <a:lnTo>
                    <a:pt x="727" y="576"/>
                  </a:lnTo>
                  <a:lnTo>
                    <a:pt x="715" y="587"/>
                  </a:lnTo>
                  <a:lnTo>
                    <a:pt x="692" y="611"/>
                  </a:lnTo>
                  <a:lnTo>
                    <a:pt x="666" y="632"/>
                  </a:lnTo>
                  <a:lnTo>
                    <a:pt x="639" y="654"/>
                  </a:lnTo>
                  <a:lnTo>
                    <a:pt x="611" y="674"/>
                  </a:lnTo>
                  <a:lnTo>
                    <a:pt x="604" y="680"/>
                  </a:lnTo>
                  <a:lnTo>
                    <a:pt x="611" y="684"/>
                  </a:lnTo>
                  <a:lnTo>
                    <a:pt x="640" y="706"/>
                  </a:lnTo>
                  <a:lnTo>
                    <a:pt x="668" y="728"/>
                  </a:lnTo>
                  <a:lnTo>
                    <a:pt x="681" y="739"/>
                  </a:lnTo>
                  <a:lnTo>
                    <a:pt x="694" y="752"/>
                  </a:lnTo>
                  <a:lnTo>
                    <a:pt x="718" y="775"/>
                  </a:lnTo>
                  <a:lnTo>
                    <a:pt x="742" y="800"/>
                  </a:lnTo>
                  <a:lnTo>
                    <a:pt x="763" y="826"/>
                  </a:lnTo>
                  <a:lnTo>
                    <a:pt x="774" y="838"/>
                  </a:lnTo>
                  <a:lnTo>
                    <a:pt x="784" y="851"/>
                  </a:lnTo>
                  <a:lnTo>
                    <a:pt x="804" y="877"/>
                  </a:lnTo>
                  <a:lnTo>
                    <a:pt x="821" y="904"/>
                  </a:lnTo>
                  <a:lnTo>
                    <a:pt x="839" y="930"/>
                  </a:lnTo>
                  <a:lnTo>
                    <a:pt x="855" y="956"/>
                  </a:lnTo>
                  <a:lnTo>
                    <a:pt x="869" y="982"/>
                  </a:lnTo>
                  <a:lnTo>
                    <a:pt x="884" y="1010"/>
                  </a:lnTo>
                  <a:lnTo>
                    <a:pt x="897" y="1034"/>
                  </a:lnTo>
                  <a:lnTo>
                    <a:pt x="908" y="1060"/>
                  </a:lnTo>
                  <a:lnTo>
                    <a:pt x="919" y="1085"/>
                  </a:lnTo>
                  <a:lnTo>
                    <a:pt x="939" y="1137"/>
                  </a:lnTo>
                  <a:lnTo>
                    <a:pt x="948" y="1161"/>
                  </a:lnTo>
                  <a:lnTo>
                    <a:pt x="955" y="1185"/>
                  </a:lnTo>
                  <a:lnTo>
                    <a:pt x="968" y="1228"/>
                  </a:lnTo>
                  <a:lnTo>
                    <a:pt x="977" y="1266"/>
                  </a:lnTo>
                  <a:lnTo>
                    <a:pt x="984" y="1296"/>
                  </a:lnTo>
                  <a:lnTo>
                    <a:pt x="988" y="1319"/>
                  </a:lnTo>
                  <a:lnTo>
                    <a:pt x="993" y="1339"/>
                  </a:lnTo>
                  <a:lnTo>
                    <a:pt x="996" y="1364"/>
                  </a:lnTo>
                  <a:lnTo>
                    <a:pt x="714" y="1364"/>
                  </a:lnTo>
                  <a:lnTo>
                    <a:pt x="711" y="1351"/>
                  </a:lnTo>
                  <a:lnTo>
                    <a:pt x="705" y="1332"/>
                  </a:lnTo>
                  <a:lnTo>
                    <a:pt x="698" y="1310"/>
                  </a:lnTo>
                  <a:lnTo>
                    <a:pt x="688" y="1282"/>
                  </a:lnTo>
                  <a:lnTo>
                    <a:pt x="675" y="1248"/>
                  </a:lnTo>
                  <a:lnTo>
                    <a:pt x="659" y="1211"/>
                  </a:lnTo>
                  <a:lnTo>
                    <a:pt x="640" y="1170"/>
                  </a:lnTo>
                  <a:lnTo>
                    <a:pt x="630" y="1148"/>
                  </a:lnTo>
                  <a:lnTo>
                    <a:pt x="618" y="1128"/>
                  </a:lnTo>
                  <a:lnTo>
                    <a:pt x="605" y="1107"/>
                  </a:lnTo>
                  <a:lnTo>
                    <a:pt x="592" y="1085"/>
                  </a:lnTo>
                  <a:lnTo>
                    <a:pt x="578" y="1063"/>
                  </a:lnTo>
                  <a:lnTo>
                    <a:pt x="562" y="1041"/>
                  </a:lnTo>
                  <a:lnTo>
                    <a:pt x="546" y="1020"/>
                  </a:lnTo>
                  <a:lnTo>
                    <a:pt x="528" y="1000"/>
                  </a:lnTo>
                  <a:lnTo>
                    <a:pt x="511" y="981"/>
                  </a:lnTo>
                  <a:lnTo>
                    <a:pt x="492" y="960"/>
                  </a:lnTo>
                  <a:lnTo>
                    <a:pt x="472" y="943"/>
                  </a:lnTo>
                  <a:lnTo>
                    <a:pt x="451" y="926"/>
                  </a:lnTo>
                  <a:lnTo>
                    <a:pt x="430" y="910"/>
                  </a:lnTo>
                  <a:lnTo>
                    <a:pt x="406" y="895"/>
                  </a:lnTo>
                  <a:lnTo>
                    <a:pt x="395" y="890"/>
                  </a:lnTo>
                  <a:lnTo>
                    <a:pt x="383" y="884"/>
                  </a:lnTo>
                  <a:lnTo>
                    <a:pt x="370" y="877"/>
                  </a:lnTo>
                  <a:lnTo>
                    <a:pt x="358" y="872"/>
                  </a:lnTo>
                  <a:lnTo>
                    <a:pt x="345" y="866"/>
                  </a:lnTo>
                  <a:lnTo>
                    <a:pt x="332" y="862"/>
                  </a:lnTo>
                  <a:lnTo>
                    <a:pt x="319" y="858"/>
                  </a:lnTo>
                  <a:lnTo>
                    <a:pt x="305" y="855"/>
                  </a:lnTo>
                  <a:lnTo>
                    <a:pt x="298" y="853"/>
                  </a:lnTo>
                  <a:lnTo>
                    <a:pt x="298" y="1364"/>
                  </a:lnTo>
                  <a:lnTo>
                    <a:pt x="0" y="1364"/>
                  </a:lnTo>
                  <a:lnTo>
                    <a:pt x="0" y="694"/>
                  </a:lnTo>
                  <a:lnTo>
                    <a:pt x="0" y="25"/>
                  </a:lnTo>
                  <a:lnTo>
                    <a:pt x="298" y="25"/>
                  </a:lnTo>
                  <a:lnTo>
                    <a:pt x="298" y="505"/>
                  </a:lnTo>
                  <a:close/>
                  <a:moveTo>
                    <a:pt x="6700" y="1041"/>
                  </a:moveTo>
                  <a:lnTo>
                    <a:pt x="6700" y="936"/>
                  </a:lnTo>
                  <a:lnTo>
                    <a:pt x="6700" y="791"/>
                  </a:lnTo>
                  <a:lnTo>
                    <a:pt x="6367" y="791"/>
                  </a:lnTo>
                  <a:lnTo>
                    <a:pt x="6358" y="791"/>
                  </a:lnTo>
                  <a:lnTo>
                    <a:pt x="6349" y="791"/>
                  </a:lnTo>
                  <a:lnTo>
                    <a:pt x="6342" y="793"/>
                  </a:lnTo>
                  <a:lnTo>
                    <a:pt x="6335" y="794"/>
                  </a:lnTo>
                  <a:lnTo>
                    <a:pt x="6326" y="796"/>
                  </a:lnTo>
                  <a:lnTo>
                    <a:pt x="6319" y="799"/>
                  </a:lnTo>
                  <a:lnTo>
                    <a:pt x="6306" y="803"/>
                  </a:lnTo>
                  <a:lnTo>
                    <a:pt x="6293" y="810"/>
                  </a:lnTo>
                  <a:lnTo>
                    <a:pt x="6281" y="817"/>
                  </a:lnTo>
                  <a:lnTo>
                    <a:pt x="6269" y="826"/>
                  </a:lnTo>
                  <a:lnTo>
                    <a:pt x="6259" y="836"/>
                  </a:lnTo>
                  <a:lnTo>
                    <a:pt x="6251" y="846"/>
                  </a:lnTo>
                  <a:lnTo>
                    <a:pt x="6243" y="858"/>
                  </a:lnTo>
                  <a:lnTo>
                    <a:pt x="6236" y="869"/>
                  </a:lnTo>
                  <a:lnTo>
                    <a:pt x="6233" y="877"/>
                  </a:lnTo>
                  <a:lnTo>
                    <a:pt x="6230" y="882"/>
                  </a:lnTo>
                  <a:lnTo>
                    <a:pt x="6226" y="895"/>
                  </a:lnTo>
                  <a:lnTo>
                    <a:pt x="6223" y="908"/>
                  </a:lnTo>
                  <a:lnTo>
                    <a:pt x="6220" y="923"/>
                  </a:lnTo>
                  <a:lnTo>
                    <a:pt x="6220" y="936"/>
                  </a:lnTo>
                  <a:lnTo>
                    <a:pt x="6220" y="950"/>
                  </a:lnTo>
                  <a:lnTo>
                    <a:pt x="6223" y="963"/>
                  </a:lnTo>
                  <a:lnTo>
                    <a:pt x="6226" y="976"/>
                  </a:lnTo>
                  <a:lnTo>
                    <a:pt x="6230" y="989"/>
                  </a:lnTo>
                  <a:lnTo>
                    <a:pt x="6236" y="1002"/>
                  </a:lnTo>
                  <a:lnTo>
                    <a:pt x="6243" y="1014"/>
                  </a:lnTo>
                  <a:lnTo>
                    <a:pt x="6251" y="1026"/>
                  </a:lnTo>
                  <a:lnTo>
                    <a:pt x="6259" y="1036"/>
                  </a:lnTo>
                  <a:lnTo>
                    <a:pt x="6269" y="1046"/>
                  </a:lnTo>
                  <a:lnTo>
                    <a:pt x="6281" y="1054"/>
                  </a:lnTo>
                  <a:lnTo>
                    <a:pt x="6293" y="1062"/>
                  </a:lnTo>
                  <a:lnTo>
                    <a:pt x="6298" y="1066"/>
                  </a:lnTo>
                  <a:lnTo>
                    <a:pt x="6306" y="1069"/>
                  </a:lnTo>
                  <a:lnTo>
                    <a:pt x="6319" y="1075"/>
                  </a:lnTo>
                  <a:lnTo>
                    <a:pt x="6335" y="1078"/>
                  </a:lnTo>
                  <a:lnTo>
                    <a:pt x="6349" y="1081"/>
                  </a:lnTo>
                  <a:lnTo>
                    <a:pt x="6367" y="1082"/>
                  </a:lnTo>
                  <a:lnTo>
                    <a:pt x="6700" y="1082"/>
                  </a:lnTo>
                  <a:lnTo>
                    <a:pt x="6700" y="1041"/>
                  </a:lnTo>
                  <a:close/>
                  <a:moveTo>
                    <a:pt x="6342" y="512"/>
                  </a:moveTo>
                  <a:lnTo>
                    <a:pt x="6700" y="512"/>
                  </a:lnTo>
                  <a:lnTo>
                    <a:pt x="6700" y="460"/>
                  </a:lnTo>
                  <a:lnTo>
                    <a:pt x="6700" y="444"/>
                  </a:lnTo>
                  <a:lnTo>
                    <a:pt x="6698" y="430"/>
                  </a:lnTo>
                  <a:lnTo>
                    <a:pt x="6696" y="421"/>
                  </a:lnTo>
                  <a:lnTo>
                    <a:pt x="6693" y="414"/>
                  </a:lnTo>
                  <a:lnTo>
                    <a:pt x="6692" y="407"/>
                  </a:lnTo>
                  <a:lnTo>
                    <a:pt x="6689" y="399"/>
                  </a:lnTo>
                  <a:lnTo>
                    <a:pt x="6682" y="385"/>
                  </a:lnTo>
                  <a:lnTo>
                    <a:pt x="6673" y="370"/>
                  </a:lnTo>
                  <a:lnTo>
                    <a:pt x="6668" y="363"/>
                  </a:lnTo>
                  <a:lnTo>
                    <a:pt x="6663" y="357"/>
                  </a:lnTo>
                  <a:lnTo>
                    <a:pt x="6658" y="350"/>
                  </a:lnTo>
                  <a:lnTo>
                    <a:pt x="6653" y="344"/>
                  </a:lnTo>
                  <a:lnTo>
                    <a:pt x="6645" y="339"/>
                  </a:lnTo>
                  <a:lnTo>
                    <a:pt x="6638" y="333"/>
                  </a:lnTo>
                  <a:lnTo>
                    <a:pt x="6632" y="327"/>
                  </a:lnTo>
                  <a:lnTo>
                    <a:pt x="6623" y="323"/>
                  </a:lnTo>
                  <a:lnTo>
                    <a:pt x="6608" y="313"/>
                  </a:lnTo>
                  <a:lnTo>
                    <a:pt x="6590" y="305"/>
                  </a:lnTo>
                  <a:lnTo>
                    <a:pt x="6584" y="304"/>
                  </a:lnTo>
                  <a:lnTo>
                    <a:pt x="6580" y="301"/>
                  </a:lnTo>
                  <a:lnTo>
                    <a:pt x="6570" y="298"/>
                  </a:lnTo>
                  <a:lnTo>
                    <a:pt x="6560" y="297"/>
                  </a:lnTo>
                  <a:lnTo>
                    <a:pt x="6548" y="294"/>
                  </a:lnTo>
                  <a:lnTo>
                    <a:pt x="6538" y="292"/>
                  </a:lnTo>
                  <a:lnTo>
                    <a:pt x="6526" y="291"/>
                  </a:lnTo>
                  <a:lnTo>
                    <a:pt x="6500" y="289"/>
                  </a:lnTo>
                  <a:lnTo>
                    <a:pt x="6474" y="289"/>
                  </a:lnTo>
                  <a:lnTo>
                    <a:pt x="6451" y="291"/>
                  </a:lnTo>
                  <a:lnTo>
                    <a:pt x="6429" y="294"/>
                  </a:lnTo>
                  <a:lnTo>
                    <a:pt x="6409" y="297"/>
                  </a:lnTo>
                  <a:lnTo>
                    <a:pt x="6391" y="301"/>
                  </a:lnTo>
                  <a:lnTo>
                    <a:pt x="6384" y="304"/>
                  </a:lnTo>
                  <a:lnTo>
                    <a:pt x="6375" y="307"/>
                  </a:lnTo>
                  <a:lnTo>
                    <a:pt x="6362" y="313"/>
                  </a:lnTo>
                  <a:lnTo>
                    <a:pt x="6349" y="320"/>
                  </a:lnTo>
                  <a:lnTo>
                    <a:pt x="6338" y="329"/>
                  </a:lnTo>
                  <a:lnTo>
                    <a:pt x="6333" y="333"/>
                  </a:lnTo>
                  <a:lnTo>
                    <a:pt x="6329" y="337"/>
                  </a:lnTo>
                  <a:lnTo>
                    <a:pt x="6320" y="347"/>
                  </a:lnTo>
                  <a:lnTo>
                    <a:pt x="6311" y="359"/>
                  </a:lnTo>
                  <a:lnTo>
                    <a:pt x="6309" y="365"/>
                  </a:lnTo>
                  <a:lnTo>
                    <a:pt x="6306" y="370"/>
                  </a:lnTo>
                  <a:lnTo>
                    <a:pt x="6300" y="382"/>
                  </a:lnTo>
                  <a:lnTo>
                    <a:pt x="6294" y="396"/>
                  </a:lnTo>
                  <a:lnTo>
                    <a:pt x="6290" y="409"/>
                  </a:lnTo>
                  <a:lnTo>
                    <a:pt x="6287" y="418"/>
                  </a:lnTo>
                  <a:lnTo>
                    <a:pt x="5982" y="418"/>
                  </a:lnTo>
                  <a:lnTo>
                    <a:pt x="5986" y="401"/>
                  </a:lnTo>
                  <a:lnTo>
                    <a:pt x="5992" y="372"/>
                  </a:lnTo>
                  <a:lnTo>
                    <a:pt x="6001" y="344"/>
                  </a:lnTo>
                  <a:lnTo>
                    <a:pt x="6010" y="318"/>
                  </a:lnTo>
                  <a:lnTo>
                    <a:pt x="6018" y="292"/>
                  </a:lnTo>
                  <a:lnTo>
                    <a:pt x="6027" y="269"/>
                  </a:lnTo>
                  <a:lnTo>
                    <a:pt x="6037" y="248"/>
                  </a:lnTo>
                  <a:lnTo>
                    <a:pt x="6049" y="226"/>
                  </a:lnTo>
                  <a:lnTo>
                    <a:pt x="6060" y="206"/>
                  </a:lnTo>
                  <a:lnTo>
                    <a:pt x="6072" y="187"/>
                  </a:lnTo>
                  <a:lnTo>
                    <a:pt x="6085" y="168"/>
                  </a:lnTo>
                  <a:lnTo>
                    <a:pt x="6098" y="152"/>
                  </a:lnTo>
                  <a:lnTo>
                    <a:pt x="6113" y="136"/>
                  </a:lnTo>
                  <a:lnTo>
                    <a:pt x="6127" y="122"/>
                  </a:lnTo>
                  <a:lnTo>
                    <a:pt x="6142" y="107"/>
                  </a:lnTo>
                  <a:lnTo>
                    <a:pt x="6158" y="94"/>
                  </a:lnTo>
                  <a:lnTo>
                    <a:pt x="6174" y="83"/>
                  </a:lnTo>
                  <a:lnTo>
                    <a:pt x="6191" y="73"/>
                  </a:lnTo>
                  <a:lnTo>
                    <a:pt x="6208" y="62"/>
                  </a:lnTo>
                  <a:lnTo>
                    <a:pt x="6226" y="52"/>
                  </a:lnTo>
                  <a:lnTo>
                    <a:pt x="6245" y="45"/>
                  </a:lnTo>
                  <a:lnTo>
                    <a:pt x="6264" y="38"/>
                  </a:lnTo>
                  <a:lnTo>
                    <a:pt x="6282" y="31"/>
                  </a:lnTo>
                  <a:lnTo>
                    <a:pt x="6303" y="25"/>
                  </a:lnTo>
                  <a:lnTo>
                    <a:pt x="6323" y="19"/>
                  </a:lnTo>
                  <a:lnTo>
                    <a:pt x="6343" y="15"/>
                  </a:lnTo>
                  <a:lnTo>
                    <a:pt x="6365" y="12"/>
                  </a:lnTo>
                  <a:lnTo>
                    <a:pt x="6387" y="7"/>
                  </a:lnTo>
                  <a:lnTo>
                    <a:pt x="6409" y="6"/>
                  </a:lnTo>
                  <a:lnTo>
                    <a:pt x="6430" y="3"/>
                  </a:lnTo>
                  <a:lnTo>
                    <a:pt x="6454" y="2"/>
                  </a:lnTo>
                  <a:lnTo>
                    <a:pt x="6500" y="2"/>
                  </a:lnTo>
                  <a:lnTo>
                    <a:pt x="6526" y="2"/>
                  </a:lnTo>
                  <a:lnTo>
                    <a:pt x="6552" y="3"/>
                  </a:lnTo>
                  <a:lnTo>
                    <a:pt x="6577" y="6"/>
                  </a:lnTo>
                  <a:lnTo>
                    <a:pt x="6603" y="10"/>
                  </a:lnTo>
                  <a:lnTo>
                    <a:pt x="6626" y="15"/>
                  </a:lnTo>
                  <a:lnTo>
                    <a:pt x="6651" y="20"/>
                  </a:lnTo>
                  <a:lnTo>
                    <a:pt x="6674" y="28"/>
                  </a:lnTo>
                  <a:lnTo>
                    <a:pt x="6698" y="35"/>
                  </a:lnTo>
                  <a:lnTo>
                    <a:pt x="6719" y="44"/>
                  </a:lnTo>
                  <a:lnTo>
                    <a:pt x="6741" y="54"/>
                  </a:lnTo>
                  <a:lnTo>
                    <a:pt x="6761" y="64"/>
                  </a:lnTo>
                  <a:lnTo>
                    <a:pt x="6783" y="75"/>
                  </a:lnTo>
                  <a:lnTo>
                    <a:pt x="6802" y="88"/>
                  </a:lnTo>
                  <a:lnTo>
                    <a:pt x="6821" y="101"/>
                  </a:lnTo>
                  <a:lnTo>
                    <a:pt x="6830" y="107"/>
                  </a:lnTo>
                  <a:lnTo>
                    <a:pt x="6840" y="114"/>
                  </a:lnTo>
                  <a:lnTo>
                    <a:pt x="6857" y="130"/>
                  </a:lnTo>
                  <a:lnTo>
                    <a:pt x="6873" y="145"/>
                  </a:lnTo>
                  <a:lnTo>
                    <a:pt x="6889" y="162"/>
                  </a:lnTo>
                  <a:lnTo>
                    <a:pt x="6904" y="180"/>
                  </a:lnTo>
                  <a:lnTo>
                    <a:pt x="6918" y="197"/>
                  </a:lnTo>
                  <a:lnTo>
                    <a:pt x="6931" y="216"/>
                  </a:lnTo>
                  <a:lnTo>
                    <a:pt x="6943" y="235"/>
                  </a:lnTo>
                  <a:lnTo>
                    <a:pt x="6949" y="245"/>
                  </a:lnTo>
                  <a:lnTo>
                    <a:pt x="6953" y="255"/>
                  </a:lnTo>
                  <a:lnTo>
                    <a:pt x="6963" y="275"/>
                  </a:lnTo>
                  <a:lnTo>
                    <a:pt x="6973" y="297"/>
                  </a:lnTo>
                  <a:lnTo>
                    <a:pt x="6980" y="318"/>
                  </a:lnTo>
                  <a:lnTo>
                    <a:pt x="6983" y="329"/>
                  </a:lnTo>
                  <a:lnTo>
                    <a:pt x="6988" y="340"/>
                  </a:lnTo>
                  <a:lnTo>
                    <a:pt x="6992" y="363"/>
                  </a:lnTo>
                  <a:lnTo>
                    <a:pt x="6995" y="375"/>
                  </a:lnTo>
                  <a:lnTo>
                    <a:pt x="6996" y="386"/>
                  </a:lnTo>
                  <a:lnTo>
                    <a:pt x="7001" y="411"/>
                  </a:lnTo>
                  <a:lnTo>
                    <a:pt x="7002" y="434"/>
                  </a:lnTo>
                  <a:lnTo>
                    <a:pt x="7002" y="460"/>
                  </a:lnTo>
                  <a:lnTo>
                    <a:pt x="7004" y="613"/>
                  </a:lnTo>
                  <a:lnTo>
                    <a:pt x="7002" y="768"/>
                  </a:lnTo>
                  <a:lnTo>
                    <a:pt x="7002" y="1364"/>
                  </a:lnTo>
                  <a:lnTo>
                    <a:pt x="6718" y="1364"/>
                  </a:lnTo>
                  <a:lnTo>
                    <a:pt x="6600" y="1363"/>
                  </a:lnTo>
                  <a:lnTo>
                    <a:pt x="6480" y="1363"/>
                  </a:lnTo>
                  <a:lnTo>
                    <a:pt x="6340" y="1364"/>
                  </a:lnTo>
                  <a:lnTo>
                    <a:pt x="6319" y="1364"/>
                  </a:lnTo>
                  <a:lnTo>
                    <a:pt x="6297" y="1363"/>
                  </a:lnTo>
                  <a:lnTo>
                    <a:pt x="6277" y="1360"/>
                  </a:lnTo>
                  <a:lnTo>
                    <a:pt x="6255" y="1357"/>
                  </a:lnTo>
                  <a:lnTo>
                    <a:pt x="6235" y="1352"/>
                  </a:lnTo>
                  <a:lnTo>
                    <a:pt x="6214" y="1348"/>
                  </a:lnTo>
                  <a:lnTo>
                    <a:pt x="6195" y="1341"/>
                  </a:lnTo>
                  <a:lnTo>
                    <a:pt x="6175" y="1335"/>
                  </a:lnTo>
                  <a:lnTo>
                    <a:pt x="6156" y="1326"/>
                  </a:lnTo>
                  <a:lnTo>
                    <a:pt x="6147" y="1323"/>
                  </a:lnTo>
                  <a:lnTo>
                    <a:pt x="6139" y="1318"/>
                  </a:lnTo>
                  <a:lnTo>
                    <a:pt x="6120" y="1309"/>
                  </a:lnTo>
                  <a:lnTo>
                    <a:pt x="6104" y="1299"/>
                  </a:lnTo>
                  <a:lnTo>
                    <a:pt x="6087" y="1287"/>
                  </a:lnTo>
                  <a:lnTo>
                    <a:pt x="6071" y="1276"/>
                  </a:lnTo>
                  <a:lnTo>
                    <a:pt x="6056" y="1264"/>
                  </a:lnTo>
                  <a:lnTo>
                    <a:pt x="6040" y="1251"/>
                  </a:lnTo>
                  <a:lnTo>
                    <a:pt x="6027" y="1237"/>
                  </a:lnTo>
                  <a:lnTo>
                    <a:pt x="6014" y="1222"/>
                  </a:lnTo>
                  <a:lnTo>
                    <a:pt x="6001" y="1206"/>
                  </a:lnTo>
                  <a:lnTo>
                    <a:pt x="5989" y="1190"/>
                  </a:lnTo>
                  <a:lnTo>
                    <a:pt x="5983" y="1182"/>
                  </a:lnTo>
                  <a:lnTo>
                    <a:pt x="5978" y="1175"/>
                  </a:lnTo>
                  <a:lnTo>
                    <a:pt x="5968" y="1157"/>
                  </a:lnTo>
                  <a:lnTo>
                    <a:pt x="5959" y="1138"/>
                  </a:lnTo>
                  <a:lnTo>
                    <a:pt x="5950" y="1121"/>
                  </a:lnTo>
                  <a:lnTo>
                    <a:pt x="5943" y="1101"/>
                  </a:lnTo>
                  <a:lnTo>
                    <a:pt x="5936" y="1082"/>
                  </a:lnTo>
                  <a:lnTo>
                    <a:pt x="5931" y="1062"/>
                  </a:lnTo>
                  <a:lnTo>
                    <a:pt x="5925" y="1041"/>
                  </a:lnTo>
                  <a:lnTo>
                    <a:pt x="5923" y="1020"/>
                  </a:lnTo>
                  <a:lnTo>
                    <a:pt x="5920" y="998"/>
                  </a:lnTo>
                  <a:lnTo>
                    <a:pt x="5918" y="976"/>
                  </a:lnTo>
                  <a:lnTo>
                    <a:pt x="5917" y="953"/>
                  </a:lnTo>
                  <a:lnTo>
                    <a:pt x="5918" y="930"/>
                  </a:lnTo>
                  <a:lnTo>
                    <a:pt x="5920" y="908"/>
                  </a:lnTo>
                  <a:lnTo>
                    <a:pt x="5923" y="887"/>
                  </a:lnTo>
                  <a:lnTo>
                    <a:pt x="5925" y="865"/>
                  </a:lnTo>
                  <a:lnTo>
                    <a:pt x="5930" y="843"/>
                  </a:lnTo>
                  <a:lnTo>
                    <a:pt x="5936" y="822"/>
                  </a:lnTo>
                  <a:lnTo>
                    <a:pt x="5943" y="801"/>
                  </a:lnTo>
                  <a:lnTo>
                    <a:pt x="5946" y="791"/>
                  </a:lnTo>
                  <a:lnTo>
                    <a:pt x="5950" y="781"/>
                  </a:lnTo>
                  <a:lnTo>
                    <a:pt x="5959" y="762"/>
                  </a:lnTo>
                  <a:lnTo>
                    <a:pt x="5968" y="744"/>
                  </a:lnTo>
                  <a:lnTo>
                    <a:pt x="5978" y="725"/>
                  </a:lnTo>
                  <a:lnTo>
                    <a:pt x="5989" y="707"/>
                  </a:lnTo>
                  <a:lnTo>
                    <a:pt x="6001" y="690"/>
                  </a:lnTo>
                  <a:lnTo>
                    <a:pt x="6013" y="673"/>
                  </a:lnTo>
                  <a:lnTo>
                    <a:pt x="6026" y="657"/>
                  </a:lnTo>
                  <a:lnTo>
                    <a:pt x="6040" y="642"/>
                  </a:lnTo>
                  <a:lnTo>
                    <a:pt x="6055" y="628"/>
                  </a:lnTo>
                  <a:lnTo>
                    <a:pt x="6071" y="613"/>
                  </a:lnTo>
                  <a:lnTo>
                    <a:pt x="6087" y="600"/>
                  </a:lnTo>
                  <a:lnTo>
                    <a:pt x="6102" y="587"/>
                  </a:lnTo>
                  <a:lnTo>
                    <a:pt x="6120" y="576"/>
                  </a:lnTo>
                  <a:lnTo>
                    <a:pt x="6137" y="566"/>
                  </a:lnTo>
                  <a:lnTo>
                    <a:pt x="6156" y="556"/>
                  </a:lnTo>
                  <a:lnTo>
                    <a:pt x="6165" y="551"/>
                  </a:lnTo>
                  <a:lnTo>
                    <a:pt x="6175" y="547"/>
                  </a:lnTo>
                  <a:lnTo>
                    <a:pt x="6194" y="540"/>
                  </a:lnTo>
                  <a:lnTo>
                    <a:pt x="6214" y="532"/>
                  </a:lnTo>
                  <a:lnTo>
                    <a:pt x="6235" y="527"/>
                  </a:lnTo>
                  <a:lnTo>
                    <a:pt x="6255" y="522"/>
                  </a:lnTo>
                  <a:lnTo>
                    <a:pt x="6277" y="518"/>
                  </a:lnTo>
                  <a:lnTo>
                    <a:pt x="6297" y="515"/>
                  </a:lnTo>
                  <a:lnTo>
                    <a:pt x="6320" y="514"/>
                  </a:lnTo>
                  <a:lnTo>
                    <a:pt x="6330" y="514"/>
                  </a:lnTo>
                  <a:lnTo>
                    <a:pt x="6342" y="5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579"/>
            </a:p>
          </p:txBody>
        </p:sp>
      </p:grpSp>
    </p:spTree>
    <p:extLst>
      <p:ext uri="{BB962C8B-B14F-4D97-AF65-F5344CB8AC3E}">
        <p14:creationId xmlns:p14="http://schemas.microsoft.com/office/powerpoint/2010/main" val="509012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0693400" cy="7562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6564" y="446419"/>
            <a:ext cx="9216095" cy="714515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228" b="1" cap="all" spc="88" baseline="0">
                <a:solidFill>
                  <a:schemeClr val="tx1"/>
                </a:solidFill>
              </a:defRPr>
            </a:lvl1pPr>
            <a:lvl2pPr marL="401010" indent="0">
              <a:buNone/>
              <a:defRPr sz="1754">
                <a:solidFill>
                  <a:schemeClr val="tx1">
                    <a:tint val="75000"/>
                  </a:schemeClr>
                </a:solidFill>
              </a:defRPr>
            </a:lvl2pPr>
            <a:lvl3pPr marL="802020" indent="0">
              <a:buNone/>
              <a:defRPr sz="1579">
                <a:solidFill>
                  <a:schemeClr val="tx1">
                    <a:tint val="75000"/>
                  </a:schemeClr>
                </a:solidFill>
              </a:defRPr>
            </a:lvl3pPr>
            <a:lvl4pPr marL="1203030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4pPr>
            <a:lvl5pPr marL="1604040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5pPr>
            <a:lvl6pPr marL="200505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6pPr>
            <a:lvl7pPr marL="240606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7pPr>
            <a:lvl8pPr marL="280707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8pPr>
            <a:lvl9pPr marL="320808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903116-B0B6-4294-B707-CCD3E3C6F57A}" type="datetime1">
              <a:rPr lang="fi-FI" smtClean="0"/>
              <a:t>22.5.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LASSIFICATION  /  PRESENTATION  / 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8CDF1A-3CDE-4195-AF23-CDCF2878DEB5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736564" y="1160934"/>
            <a:ext cx="9220273" cy="5082165"/>
          </a:xfrm>
        </p:spPr>
        <p:txBody>
          <a:bodyPr anchor="ctr" anchorCtr="0"/>
          <a:lstStyle>
            <a:lvl1pPr algn="l">
              <a:lnSpc>
                <a:spcPct val="80000"/>
              </a:lnSpc>
              <a:defRPr sz="7017" spc="-263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Picture Placeholder 14" descr="dont touch/move" title="Kemira Logo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736564" y="7127331"/>
            <a:ext cx="631500" cy="14841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i-FI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4584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PIC Ne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0693400" cy="7562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53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6564" y="446419"/>
            <a:ext cx="9216095" cy="714515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228" b="1" cap="all" spc="88" baseline="0">
                <a:solidFill>
                  <a:schemeClr val="bg1"/>
                </a:solidFill>
              </a:defRPr>
            </a:lvl1pPr>
            <a:lvl2pPr marL="401010" indent="0">
              <a:buNone/>
              <a:defRPr sz="1754">
                <a:solidFill>
                  <a:schemeClr val="tx1">
                    <a:tint val="75000"/>
                  </a:schemeClr>
                </a:solidFill>
              </a:defRPr>
            </a:lvl2pPr>
            <a:lvl3pPr marL="802020" indent="0">
              <a:buNone/>
              <a:defRPr sz="1579">
                <a:solidFill>
                  <a:schemeClr val="tx1">
                    <a:tint val="75000"/>
                  </a:schemeClr>
                </a:solidFill>
              </a:defRPr>
            </a:lvl3pPr>
            <a:lvl4pPr marL="1203030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4pPr>
            <a:lvl5pPr marL="1604040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5pPr>
            <a:lvl6pPr marL="200505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6pPr>
            <a:lvl7pPr marL="240606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7pPr>
            <a:lvl8pPr marL="280707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8pPr>
            <a:lvl9pPr marL="320808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82E22A7-70AB-4079-A180-58A38E9D8592}" type="datetime1">
              <a:rPr lang="fi-FI" smtClean="0"/>
              <a:t>22.5.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ASSIFICATION  /  PRESENTATION  / 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B8CDF1A-3CDE-4195-AF23-CDCF2878DEB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36564" y="1160934"/>
            <a:ext cx="9220273" cy="5082165"/>
          </a:xfrm>
        </p:spPr>
        <p:txBody>
          <a:bodyPr anchor="ctr" anchorCtr="0"/>
          <a:lstStyle>
            <a:lvl1pPr algn="l">
              <a:lnSpc>
                <a:spcPct val="80000"/>
              </a:lnSpc>
              <a:defRPr sz="7017" spc="-263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Picture Placeholder 14" descr="dont touch/move" title="Kemira Logo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736564" y="7127331"/>
            <a:ext cx="631500" cy="14841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i-FI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29195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COLOR">
    <p:bg>
      <p:bgPr>
        <a:solidFill>
          <a:srgbClr val="005BB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6564" y="446419"/>
            <a:ext cx="9216095" cy="714515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228" b="1" cap="all" spc="88" baseline="0">
                <a:solidFill>
                  <a:schemeClr val="bg1"/>
                </a:solidFill>
              </a:defRPr>
            </a:lvl1pPr>
            <a:lvl2pPr marL="401010" indent="0">
              <a:buNone/>
              <a:defRPr sz="1754">
                <a:solidFill>
                  <a:schemeClr val="tx1">
                    <a:tint val="75000"/>
                  </a:schemeClr>
                </a:solidFill>
              </a:defRPr>
            </a:lvl2pPr>
            <a:lvl3pPr marL="802020" indent="0">
              <a:buNone/>
              <a:defRPr sz="1579">
                <a:solidFill>
                  <a:schemeClr val="tx1">
                    <a:tint val="75000"/>
                  </a:schemeClr>
                </a:solidFill>
              </a:defRPr>
            </a:lvl3pPr>
            <a:lvl4pPr marL="1203030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4pPr>
            <a:lvl5pPr marL="1604040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5pPr>
            <a:lvl6pPr marL="200505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6pPr>
            <a:lvl7pPr marL="240606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7pPr>
            <a:lvl8pPr marL="280707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8pPr>
            <a:lvl9pPr marL="320808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D379A4E-1B23-4DC3-8D94-F3974581D6E8}" type="datetime1">
              <a:rPr lang="fi-FI" smtClean="0"/>
              <a:t>22.5.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ASSIFICATION  /  PRESENTATION  / 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B8CDF1A-3CDE-4195-AF23-CDCF2878DEB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reeform 6"/>
          <p:cNvSpPr>
            <a:spLocks noChangeAspect="1" noEditPoints="1"/>
          </p:cNvSpPr>
          <p:nvPr/>
        </p:nvSpPr>
        <p:spPr bwMode="auto">
          <a:xfrm>
            <a:off x="733766" y="7127316"/>
            <a:ext cx="631500" cy="148426"/>
          </a:xfrm>
          <a:custGeom>
            <a:avLst/>
            <a:gdLst>
              <a:gd name="T0" fmla="*/ 1828 w 5971"/>
              <a:gd name="T1" fmla="*/ 967 h 1115"/>
              <a:gd name="T2" fmla="*/ 1577 w 5971"/>
              <a:gd name="T3" fmla="*/ 1104 h 1115"/>
              <a:gd name="T4" fmla="*/ 1259 w 5971"/>
              <a:gd name="T5" fmla="*/ 1080 h 1115"/>
              <a:gd name="T6" fmla="*/ 1071 w 5971"/>
              <a:gd name="T7" fmla="*/ 932 h 1115"/>
              <a:gd name="T8" fmla="*/ 982 w 5971"/>
              <a:gd name="T9" fmla="*/ 665 h 1115"/>
              <a:gd name="T10" fmla="*/ 1023 w 5971"/>
              <a:gd name="T11" fmla="*/ 275 h 1115"/>
              <a:gd name="T12" fmla="*/ 1229 w 5971"/>
              <a:gd name="T13" fmla="*/ 49 h 1115"/>
              <a:gd name="T14" fmla="*/ 1509 w 5971"/>
              <a:gd name="T15" fmla="*/ 2 h 1115"/>
              <a:gd name="T16" fmla="*/ 1768 w 5971"/>
              <a:gd name="T17" fmla="*/ 97 h 1115"/>
              <a:gd name="T18" fmla="*/ 1906 w 5971"/>
              <a:gd name="T19" fmla="*/ 301 h 1115"/>
              <a:gd name="T20" fmla="*/ 1244 w 5971"/>
              <a:gd name="T21" fmla="*/ 631 h 1115"/>
              <a:gd name="T22" fmla="*/ 1303 w 5971"/>
              <a:gd name="T23" fmla="*/ 811 h 1115"/>
              <a:gd name="T24" fmla="*/ 1447 w 5971"/>
              <a:gd name="T25" fmla="*/ 878 h 1115"/>
              <a:gd name="T26" fmla="*/ 1604 w 5971"/>
              <a:gd name="T27" fmla="*/ 831 h 1115"/>
              <a:gd name="T28" fmla="*/ 1414 w 5971"/>
              <a:gd name="T29" fmla="*/ 221 h 1115"/>
              <a:gd name="T30" fmla="*/ 1286 w 5971"/>
              <a:gd name="T31" fmla="*/ 320 h 1115"/>
              <a:gd name="T32" fmla="*/ 1617 w 5971"/>
              <a:gd name="T33" fmla="*/ 291 h 1115"/>
              <a:gd name="T34" fmla="*/ 1485 w 5971"/>
              <a:gd name="T35" fmla="*/ 218 h 1115"/>
              <a:gd name="T36" fmla="*/ 5660 w 5971"/>
              <a:gd name="T37" fmla="*/ 267 h 1115"/>
              <a:gd name="T38" fmla="*/ 5465 w 5971"/>
              <a:gd name="T39" fmla="*/ 238 h 1115"/>
              <a:gd name="T40" fmla="*/ 5360 w 5971"/>
              <a:gd name="T41" fmla="*/ 336 h 1115"/>
              <a:gd name="T42" fmla="*/ 5199 w 5971"/>
              <a:gd name="T43" fmla="*/ 121 h 1115"/>
              <a:gd name="T44" fmla="*/ 5408 w 5971"/>
              <a:gd name="T45" fmla="*/ 12 h 1115"/>
              <a:gd name="T46" fmla="*/ 5710 w 5971"/>
              <a:gd name="T47" fmla="*/ 28 h 1115"/>
              <a:gd name="T48" fmla="*/ 5929 w 5971"/>
              <a:gd name="T49" fmla="*/ 203 h 1115"/>
              <a:gd name="T50" fmla="*/ 5970 w 5971"/>
              <a:gd name="T51" fmla="*/ 1093 h 1115"/>
              <a:gd name="T52" fmla="*/ 5218 w 5971"/>
              <a:gd name="T53" fmla="*/ 1049 h 1115"/>
              <a:gd name="T54" fmla="*/ 5061 w 5971"/>
              <a:gd name="T55" fmla="*/ 867 h 1115"/>
              <a:gd name="T56" fmla="*/ 5080 w 5971"/>
              <a:gd name="T57" fmla="*/ 611 h 1115"/>
              <a:gd name="T58" fmla="*/ 5265 w 5971"/>
              <a:gd name="T59" fmla="*/ 438 h 1115"/>
              <a:gd name="T60" fmla="*/ 5400 w 5971"/>
              <a:gd name="T61" fmla="*/ 636 h 1115"/>
              <a:gd name="T62" fmla="*/ 5304 w 5971"/>
              <a:gd name="T63" fmla="*/ 739 h 1115"/>
              <a:gd name="T64" fmla="*/ 5388 w 5971"/>
              <a:gd name="T65" fmla="*/ 861 h 1115"/>
              <a:gd name="T66" fmla="*/ 383 w 5971"/>
              <a:gd name="T67" fmla="*/ 349 h 1115"/>
              <a:gd name="T68" fmla="*/ 580 w 5971"/>
              <a:gd name="T69" fmla="*/ 87 h 1115"/>
              <a:gd name="T70" fmla="*/ 777 w 5971"/>
              <a:gd name="T71" fmla="*/ 235 h 1115"/>
              <a:gd name="T72" fmla="*/ 568 w 5971"/>
              <a:gd name="T73" fmla="*/ 507 h 1115"/>
              <a:gd name="T74" fmla="*/ 701 w 5971"/>
              <a:gd name="T75" fmla="*/ 724 h 1115"/>
              <a:gd name="T76" fmla="*/ 839 w 5971"/>
              <a:gd name="T77" fmla="*/ 1038 h 1115"/>
              <a:gd name="T78" fmla="*/ 504 w 5971"/>
              <a:gd name="T79" fmla="*/ 869 h 1115"/>
              <a:gd name="T80" fmla="*/ 305 w 5971"/>
              <a:gd name="T81" fmla="*/ 699 h 1115"/>
              <a:gd name="T82" fmla="*/ 3168 w 5971"/>
              <a:gd name="T83" fmla="*/ 349 h 1115"/>
              <a:gd name="T84" fmla="*/ 3082 w 5971"/>
              <a:gd name="T85" fmla="*/ 241 h 1115"/>
              <a:gd name="T86" fmla="*/ 2946 w 5971"/>
              <a:gd name="T87" fmla="*/ 287 h 1115"/>
              <a:gd name="T88" fmla="*/ 2664 w 5971"/>
              <a:gd name="T89" fmla="*/ 326 h 1115"/>
              <a:gd name="T90" fmla="*/ 2571 w 5971"/>
              <a:gd name="T91" fmla="*/ 238 h 1115"/>
              <a:gd name="T92" fmla="*/ 2438 w 5971"/>
              <a:gd name="T93" fmla="*/ 301 h 1115"/>
              <a:gd name="T94" fmla="*/ 2179 w 5971"/>
              <a:gd name="T95" fmla="*/ 275 h 1115"/>
              <a:gd name="T96" fmla="*/ 2295 w 5971"/>
              <a:gd name="T97" fmla="*/ 83 h 1115"/>
              <a:gd name="T98" fmla="*/ 2569 w 5971"/>
              <a:gd name="T99" fmla="*/ 1 h 1115"/>
              <a:gd name="T100" fmla="*/ 2793 w 5971"/>
              <a:gd name="T101" fmla="*/ 82 h 1115"/>
              <a:gd name="T102" fmla="*/ 3004 w 5971"/>
              <a:gd name="T103" fmla="*/ 2 h 1115"/>
              <a:gd name="T104" fmla="*/ 3267 w 5971"/>
              <a:gd name="T105" fmla="*/ 63 h 1115"/>
              <a:gd name="T106" fmla="*/ 3412 w 5971"/>
              <a:gd name="T107" fmla="*/ 275 h 1115"/>
              <a:gd name="T108" fmla="*/ 4279 w 5971"/>
              <a:gd name="T109" fmla="*/ 253 h 1115"/>
              <a:gd name="T110" fmla="*/ 4418 w 5971"/>
              <a:gd name="T111" fmla="*/ 61 h 1115"/>
              <a:gd name="T112" fmla="*/ 4711 w 5971"/>
              <a:gd name="T113" fmla="*/ 5 h 1115"/>
              <a:gd name="T114" fmla="*/ 4940 w 5971"/>
              <a:gd name="T115" fmla="*/ 120 h 1115"/>
              <a:gd name="T116" fmla="*/ 5020 w 5971"/>
              <a:gd name="T117" fmla="*/ 336 h 1115"/>
              <a:gd name="T118" fmla="*/ 4688 w 5971"/>
              <a:gd name="T119" fmla="*/ 242 h 1115"/>
              <a:gd name="T120" fmla="*/ 4552 w 5971"/>
              <a:gd name="T121" fmla="*/ 272 h 1115"/>
              <a:gd name="T122" fmla="*/ 3716 w 5971"/>
              <a:gd name="T123" fmla="*/ 556 h 11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971" h="1115">
                <a:moveTo>
                  <a:pt x="1929" y="765"/>
                </a:moveTo>
                <a:lnTo>
                  <a:pt x="1926" y="777"/>
                </a:lnTo>
                <a:lnTo>
                  <a:pt x="1923" y="788"/>
                </a:lnTo>
                <a:lnTo>
                  <a:pt x="1921" y="798"/>
                </a:lnTo>
                <a:lnTo>
                  <a:pt x="1917" y="809"/>
                </a:lnTo>
                <a:lnTo>
                  <a:pt x="1911" y="829"/>
                </a:lnTo>
                <a:lnTo>
                  <a:pt x="1903" y="849"/>
                </a:lnTo>
                <a:lnTo>
                  <a:pt x="1895" y="868"/>
                </a:lnTo>
                <a:lnTo>
                  <a:pt x="1886" y="887"/>
                </a:lnTo>
                <a:lnTo>
                  <a:pt x="1881" y="896"/>
                </a:lnTo>
                <a:lnTo>
                  <a:pt x="1876" y="905"/>
                </a:lnTo>
                <a:lnTo>
                  <a:pt x="1865" y="921"/>
                </a:lnTo>
                <a:lnTo>
                  <a:pt x="1854" y="937"/>
                </a:lnTo>
                <a:lnTo>
                  <a:pt x="1842" y="952"/>
                </a:lnTo>
                <a:lnTo>
                  <a:pt x="1828" y="967"/>
                </a:lnTo>
                <a:lnTo>
                  <a:pt x="1815" y="981"/>
                </a:lnTo>
                <a:lnTo>
                  <a:pt x="1801" y="995"/>
                </a:lnTo>
                <a:lnTo>
                  <a:pt x="1787" y="1007"/>
                </a:lnTo>
                <a:lnTo>
                  <a:pt x="1771" y="1019"/>
                </a:lnTo>
                <a:lnTo>
                  <a:pt x="1756" y="1030"/>
                </a:lnTo>
                <a:lnTo>
                  <a:pt x="1740" y="1040"/>
                </a:lnTo>
                <a:lnTo>
                  <a:pt x="1723" y="1050"/>
                </a:lnTo>
                <a:lnTo>
                  <a:pt x="1707" y="1059"/>
                </a:lnTo>
                <a:lnTo>
                  <a:pt x="1689" y="1067"/>
                </a:lnTo>
                <a:lnTo>
                  <a:pt x="1671" y="1075"/>
                </a:lnTo>
                <a:lnTo>
                  <a:pt x="1653" y="1083"/>
                </a:lnTo>
                <a:lnTo>
                  <a:pt x="1634" y="1088"/>
                </a:lnTo>
                <a:lnTo>
                  <a:pt x="1616" y="1094"/>
                </a:lnTo>
                <a:lnTo>
                  <a:pt x="1597" y="1099"/>
                </a:lnTo>
                <a:lnTo>
                  <a:pt x="1577" y="1104"/>
                </a:lnTo>
                <a:lnTo>
                  <a:pt x="1558" y="1107"/>
                </a:lnTo>
                <a:lnTo>
                  <a:pt x="1538" y="1109"/>
                </a:lnTo>
                <a:lnTo>
                  <a:pt x="1519" y="1112"/>
                </a:lnTo>
                <a:lnTo>
                  <a:pt x="1499" y="1114"/>
                </a:lnTo>
                <a:lnTo>
                  <a:pt x="1479" y="1115"/>
                </a:lnTo>
                <a:lnTo>
                  <a:pt x="1459" y="1115"/>
                </a:lnTo>
                <a:lnTo>
                  <a:pt x="1434" y="1115"/>
                </a:lnTo>
                <a:lnTo>
                  <a:pt x="1409" y="1113"/>
                </a:lnTo>
                <a:lnTo>
                  <a:pt x="1385" y="1111"/>
                </a:lnTo>
                <a:lnTo>
                  <a:pt x="1361" y="1107"/>
                </a:lnTo>
                <a:lnTo>
                  <a:pt x="1337" y="1104"/>
                </a:lnTo>
                <a:lnTo>
                  <a:pt x="1315" y="1098"/>
                </a:lnTo>
                <a:lnTo>
                  <a:pt x="1292" y="1092"/>
                </a:lnTo>
                <a:lnTo>
                  <a:pt x="1271" y="1085"/>
                </a:lnTo>
                <a:lnTo>
                  <a:pt x="1259" y="1080"/>
                </a:lnTo>
                <a:lnTo>
                  <a:pt x="1249" y="1076"/>
                </a:lnTo>
                <a:lnTo>
                  <a:pt x="1228" y="1067"/>
                </a:lnTo>
                <a:lnTo>
                  <a:pt x="1208" y="1057"/>
                </a:lnTo>
                <a:lnTo>
                  <a:pt x="1188" y="1045"/>
                </a:lnTo>
                <a:lnTo>
                  <a:pt x="1169" y="1033"/>
                </a:lnTo>
                <a:lnTo>
                  <a:pt x="1151" y="1019"/>
                </a:lnTo>
                <a:lnTo>
                  <a:pt x="1133" y="1004"/>
                </a:lnTo>
                <a:lnTo>
                  <a:pt x="1124" y="996"/>
                </a:lnTo>
                <a:lnTo>
                  <a:pt x="1117" y="988"/>
                </a:lnTo>
                <a:lnTo>
                  <a:pt x="1109" y="979"/>
                </a:lnTo>
                <a:lnTo>
                  <a:pt x="1101" y="970"/>
                </a:lnTo>
                <a:lnTo>
                  <a:pt x="1093" y="961"/>
                </a:lnTo>
                <a:lnTo>
                  <a:pt x="1085" y="952"/>
                </a:lnTo>
                <a:lnTo>
                  <a:pt x="1079" y="942"/>
                </a:lnTo>
                <a:lnTo>
                  <a:pt x="1071" y="932"/>
                </a:lnTo>
                <a:lnTo>
                  <a:pt x="1064" y="922"/>
                </a:lnTo>
                <a:lnTo>
                  <a:pt x="1057" y="911"/>
                </a:lnTo>
                <a:lnTo>
                  <a:pt x="1045" y="889"/>
                </a:lnTo>
                <a:lnTo>
                  <a:pt x="1034" y="866"/>
                </a:lnTo>
                <a:lnTo>
                  <a:pt x="1028" y="853"/>
                </a:lnTo>
                <a:lnTo>
                  <a:pt x="1023" y="841"/>
                </a:lnTo>
                <a:lnTo>
                  <a:pt x="1013" y="816"/>
                </a:lnTo>
                <a:lnTo>
                  <a:pt x="1005" y="788"/>
                </a:lnTo>
                <a:lnTo>
                  <a:pt x="1001" y="774"/>
                </a:lnTo>
                <a:lnTo>
                  <a:pt x="997" y="760"/>
                </a:lnTo>
                <a:lnTo>
                  <a:pt x="991" y="730"/>
                </a:lnTo>
                <a:lnTo>
                  <a:pt x="988" y="714"/>
                </a:lnTo>
                <a:lnTo>
                  <a:pt x="985" y="699"/>
                </a:lnTo>
                <a:lnTo>
                  <a:pt x="983" y="682"/>
                </a:lnTo>
                <a:lnTo>
                  <a:pt x="982" y="665"/>
                </a:lnTo>
                <a:lnTo>
                  <a:pt x="978" y="632"/>
                </a:lnTo>
                <a:lnTo>
                  <a:pt x="976" y="596"/>
                </a:lnTo>
                <a:lnTo>
                  <a:pt x="976" y="560"/>
                </a:lnTo>
                <a:lnTo>
                  <a:pt x="976" y="522"/>
                </a:lnTo>
                <a:lnTo>
                  <a:pt x="977" y="504"/>
                </a:lnTo>
                <a:lnTo>
                  <a:pt x="978" y="486"/>
                </a:lnTo>
                <a:lnTo>
                  <a:pt x="982" y="452"/>
                </a:lnTo>
                <a:lnTo>
                  <a:pt x="983" y="435"/>
                </a:lnTo>
                <a:lnTo>
                  <a:pt x="985" y="419"/>
                </a:lnTo>
                <a:lnTo>
                  <a:pt x="991" y="387"/>
                </a:lnTo>
                <a:lnTo>
                  <a:pt x="997" y="357"/>
                </a:lnTo>
                <a:lnTo>
                  <a:pt x="1001" y="343"/>
                </a:lnTo>
                <a:lnTo>
                  <a:pt x="1005" y="328"/>
                </a:lnTo>
                <a:lnTo>
                  <a:pt x="1014" y="301"/>
                </a:lnTo>
                <a:lnTo>
                  <a:pt x="1023" y="275"/>
                </a:lnTo>
                <a:lnTo>
                  <a:pt x="1034" y="250"/>
                </a:lnTo>
                <a:lnTo>
                  <a:pt x="1040" y="238"/>
                </a:lnTo>
                <a:lnTo>
                  <a:pt x="1045" y="227"/>
                </a:lnTo>
                <a:lnTo>
                  <a:pt x="1059" y="204"/>
                </a:lnTo>
                <a:lnTo>
                  <a:pt x="1072" y="183"/>
                </a:lnTo>
                <a:lnTo>
                  <a:pt x="1086" y="163"/>
                </a:lnTo>
                <a:lnTo>
                  <a:pt x="1101" y="145"/>
                </a:lnTo>
                <a:lnTo>
                  <a:pt x="1118" y="128"/>
                </a:lnTo>
                <a:lnTo>
                  <a:pt x="1134" y="112"/>
                </a:lnTo>
                <a:lnTo>
                  <a:pt x="1151" y="97"/>
                </a:lnTo>
                <a:lnTo>
                  <a:pt x="1161" y="90"/>
                </a:lnTo>
                <a:lnTo>
                  <a:pt x="1170" y="83"/>
                </a:lnTo>
                <a:lnTo>
                  <a:pt x="1189" y="70"/>
                </a:lnTo>
                <a:lnTo>
                  <a:pt x="1208" y="59"/>
                </a:lnTo>
                <a:lnTo>
                  <a:pt x="1229" y="49"/>
                </a:lnTo>
                <a:lnTo>
                  <a:pt x="1249" y="39"/>
                </a:lnTo>
                <a:lnTo>
                  <a:pt x="1260" y="34"/>
                </a:lnTo>
                <a:lnTo>
                  <a:pt x="1272" y="31"/>
                </a:lnTo>
                <a:lnTo>
                  <a:pt x="1293" y="23"/>
                </a:lnTo>
                <a:lnTo>
                  <a:pt x="1304" y="20"/>
                </a:lnTo>
                <a:lnTo>
                  <a:pt x="1315" y="17"/>
                </a:lnTo>
                <a:lnTo>
                  <a:pt x="1339" y="12"/>
                </a:lnTo>
                <a:lnTo>
                  <a:pt x="1362" y="7"/>
                </a:lnTo>
                <a:lnTo>
                  <a:pt x="1374" y="5"/>
                </a:lnTo>
                <a:lnTo>
                  <a:pt x="1385" y="4"/>
                </a:lnTo>
                <a:lnTo>
                  <a:pt x="1410" y="2"/>
                </a:lnTo>
                <a:lnTo>
                  <a:pt x="1434" y="1"/>
                </a:lnTo>
                <a:lnTo>
                  <a:pt x="1460" y="0"/>
                </a:lnTo>
                <a:lnTo>
                  <a:pt x="1485" y="1"/>
                </a:lnTo>
                <a:lnTo>
                  <a:pt x="1509" y="2"/>
                </a:lnTo>
                <a:lnTo>
                  <a:pt x="1534" y="4"/>
                </a:lnTo>
                <a:lnTo>
                  <a:pt x="1557" y="7"/>
                </a:lnTo>
                <a:lnTo>
                  <a:pt x="1581" y="12"/>
                </a:lnTo>
                <a:lnTo>
                  <a:pt x="1604" y="17"/>
                </a:lnTo>
                <a:lnTo>
                  <a:pt x="1626" y="23"/>
                </a:lnTo>
                <a:lnTo>
                  <a:pt x="1649" y="31"/>
                </a:lnTo>
                <a:lnTo>
                  <a:pt x="1659" y="34"/>
                </a:lnTo>
                <a:lnTo>
                  <a:pt x="1670" y="39"/>
                </a:lnTo>
                <a:lnTo>
                  <a:pt x="1691" y="49"/>
                </a:lnTo>
                <a:lnTo>
                  <a:pt x="1701" y="53"/>
                </a:lnTo>
                <a:lnTo>
                  <a:pt x="1711" y="59"/>
                </a:lnTo>
                <a:lnTo>
                  <a:pt x="1721" y="64"/>
                </a:lnTo>
                <a:lnTo>
                  <a:pt x="1730" y="70"/>
                </a:lnTo>
                <a:lnTo>
                  <a:pt x="1749" y="83"/>
                </a:lnTo>
                <a:lnTo>
                  <a:pt x="1768" y="97"/>
                </a:lnTo>
                <a:lnTo>
                  <a:pt x="1786" y="112"/>
                </a:lnTo>
                <a:lnTo>
                  <a:pt x="1794" y="120"/>
                </a:lnTo>
                <a:lnTo>
                  <a:pt x="1803" y="128"/>
                </a:lnTo>
                <a:lnTo>
                  <a:pt x="1810" y="137"/>
                </a:lnTo>
                <a:lnTo>
                  <a:pt x="1818" y="145"/>
                </a:lnTo>
                <a:lnTo>
                  <a:pt x="1826" y="154"/>
                </a:lnTo>
                <a:lnTo>
                  <a:pt x="1834" y="163"/>
                </a:lnTo>
                <a:lnTo>
                  <a:pt x="1848" y="183"/>
                </a:lnTo>
                <a:lnTo>
                  <a:pt x="1855" y="193"/>
                </a:lnTo>
                <a:lnTo>
                  <a:pt x="1862" y="204"/>
                </a:lnTo>
                <a:lnTo>
                  <a:pt x="1867" y="216"/>
                </a:lnTo>
                <a:lnTo>
                  <a:pt x="1874" y="227"/>
                </a:lnTo>
                <a:lnTo>
                  <a:pt x="1885" y="250"/>
                </a:lnTo>
                <a:lnTo>
                  <a:pt x="1896" y="275"/>
                </a:lnTo>
                <a:lnTo>
                  <a:pt x="1906" y="301"/>
                </a:lnTo>
                <a:lnTo>
                  <a:pt x="1914" y="328"/>
                </a:lnTo>
                <a:lnTo>
                  <a:pt x="1919" y="343"/>
                </a:lnTo>
                <a:lnTo>
                  <a:pt x="1922" y="357"/>
                </a:lnTo>
                <a:lnTo>
                  <a:pt x="1929" y="387"/>
                </a:lnTo>
                <a:lnTo>
                  <a:pt x="1932" y="403"/>
                </a:lnTo>
                <a:lnTo>
                  <a:pt x="1934" y="419"/>
                </a:lnTo>
                <a:lnTo>
                  <a:pt x="1936" y="435"/>
                </a:lnTo>
                <a:lnTo>
                  <a:pt x="1939" y="452"/>
                </a:lnTo>
                <a:lnTo>
                  <a:pt x="1941" y="486"/>
                </a:lnTo>
                <a:lnTo>
                  <a:pt x="1943" y="522"/>
                </a:lnTo>
                <a:lnTo>
                  <a:pt x="1944" y="560"/>
                </a:lnTo>
                <a:lnTo>
                  <a:pt x="1943" y="589"/>
                </a:lnTo>
                <a:lnTo>
                  <a:pt x="1942" y="617"/>
                </a:lnTo>
                <a:lnTo>
                  <a:pt x="1942" y="631"/>
                </a:lnTo>
                <a:lnTo>
                  <a:pt x="1244" y="631"/>
                </a:lnTo>
                <a:lnTo>
                  <a:pt x="1245" y="644"/>
                </a:lnTo>
                <a:lnTo>
                  <a:pt x="1246" y="659"/>
                </a:lnTo>
                <a:lnTo>
                  <a:pt x="1247" y="671"/>
                </a:lnTo>
                <a:lnTo>
                  <a:pt x="1249" y="684"/>
                </a:lnTo>
                <a:lnTo>
                  <a:pt x="1252" y="696"/>
                </a:lnTo>
                <a:lnTo>
                  <a:pt x="1254" y="709"/>
                </a:lnTo>
                <a:lnTo>
                  <a:pt x="1260" y="732"/>
                </a:lnTo>
                <a:lnTo>
                  <a:pt x="1265" y="743"/>
                </a:lnTo>
                <a:lnTo>
                  <a:pt x="1269" y="754"/>
                </a:lnTo>
                <a:lnTo>
                  <a:pt x="1274" y="764"/>
                </a:lnTo>
                <a:lnTo>
                  <a:pt x="1278" y="774"/>
                </a:lnTo>
                <a:lnTo>
                  <a:pt x="1284" y="784"/>
                </a:lnTo>
                <a:lnTo>
                  <a:pt x="1289" y="793"/>
                </a:lnTo>
                <a:lnTo>
                  <a:pt x="1296" y="802"/>
                </a:lnTo>
                <a:lnTo>
                  <a:pt x="1303" y="811"/>
                </a:lnTo>
                <a:lnTo>
                  <a:pt x="1310" y="819"/>
                </a:lnTo>
                <a:lnTo>
                  <a:pt x="1316" y="827"/>
                </a:lnTo>
                <a:lnTo>
                  <a:pt x="1324" y="833"/>
                </a:lnTo>
                <a:lnTo>
                  <a:pt x="1332" y="840"/>
                </a:lnTo>
                <a:lnTo>
                  <a:pt x="1341" y="846"/>
                </a:lnTo>
                <a:lnTo>
                  <a:pt x="1350" y="851"/>
                </a:lnTo>
                <a:lnTo>
                  <a:pt x="1359" y="857"/>
                </a:lnTo>
                <a:lnTo>
                  <a:pt x="1369" y="861"/>
                </a:lnTo>
                <a:lnTo>
                  <a:pt x="1379" y="865"/>
                </a:lnTo>
                <a:lnTo>
                  <a:pt x="1389" y="869"/>
                </a:lnTo>
                <a:lnTo>
                  <a:pt x="1400" y="871"/>
                </a:lnTo>
                <a:lnTo>
                  <a:pt x="1411" y="875"/>
                </a:lnTo>
                <a:lnTo>
                  <a:pt x="1422" y="876"/>
                </a:lnTo>
                <a:lnTo>
                  <a:pt x="1434" y="878"/>
                </a:lnTo>
                <a:lnTo>
                  <a:pt x="1447" y="878"/>
                </a:lnTo>
                <a:lnTo>
                  <a:pt x="1459" y="879"/>
                </a:lnTo>
                <a:lnTo>
                  <a:pt x="1469" y="879"/>
                </a:lnTo>
                <a:lnTo>
                  <a:pt x="1479" y="878"/>
                </a:lnTo>
                <a:lnTo>
                  <a:pt x="1489" y="877"/>
                </a:lnTo>
                <a:lnTo>
                  <a:pt x="1498" y="876"/>
                </a:lnTo>
                <a:lnTo>
                  <a:pt x="1507" y="875"/>
                </a:lnTo>
                <a:lnTo>
                  <a:pt x="1516" y="872"/>
                </a:lnTo>
                <a:lnTo>
                  <a:pt x="1534" y="868"/>
                </a:lnTo>
                <a:lnTo>
                  <a:pt x="1549" y="862"/>
                </a:lnTo>
                <a:lnTo>
                  <a:pt x="1557" y="859"/>
                </a:lnTo>
                <a:lnTo>
                  <a:pt x="1565" y="856"/>
                </a:lnTo>
                <a:lnTo>
                  <a:pt x="1578" y="848"/>
                </a:lnTo>
                <a:lnTo>
                  <a:pt x="1585" y="845"/>
                </a:lnTo>
                <a:lnTo>
                  <a:pt x="1592" y="840"/>
                </a:lnTo>
                <a:lnTo>
                  <a:pt x="1604" y="831"/>
                </a:lnTo>
                <a:lnTo>
                  <a:pt x="1615" y="821"/>
                </a:lnTo>
                <a:lnTo>
                  <a:pt x="1625" y="811"/>
                </a:lnTo>
                <a:lnTo>
                  <a:pt x="1634" y="801"/>
                </a:lnTo>
                <a:lnTo>
                  <a:pt x="1642" y="790"/>
                </a:lnTo>
                <a:lnTo>
                  <a:pt x="1649" y="779"/>
                </a:lnTo>
                <a:lnTo>
                  <a:pt x="1652" y="773"/>
                </a:lnTo>
                <a:lnTo>
                  <a:pt x="1654" y="768"/>
                </a:lnTo>
                <a:lnTo>
                  <a:pt x="1660" y="757"/>
                </a:lnTo>
                <a:lnTo>
                  <a:pt x="1931" y="752"/>
                </a:lnTo>
                <a:lnTo>
                  <a:pt x="1929" y="765"/>
                </a:lnTo>
                <a:close/>
                <a:moveTo>
                  <a:pt x="1460" y="216"/>
                </a:moveTo>
                <a:lnTo>
                  <a:pt x="1449" y="217"/>
                </a:lnTo>
                <a:lnTo>
                  <a:pt x="1437" y="218"/>
                </a:lnTo>
                <a:lnTo>
                  <a:pt x="1426" y="219"/>
                </a:lnTo>
                <a:lnTo>
                  <a:pt x="1414" y="221"/>
                </a:lnTo>
                <a:lnTo>
                  <a:pt x="1404" y="223"/>
                </a:lnTo>
                <a:lnTo>
                  <a:pt x="1394" y="227"/>
                </a:lnTo>
                <a:lnTo>
                  <a:pt x="1384" y="230"/>
                </a:lnTo>
                <a:lnTo>
                  <a:pt x="1375" y="233"/>
                </a:lnTo>
                <a:lnTo>
                  <a:pt x="1366" y="238"/>
                </a:lnTo>
                <a:lnTo>
                  <a:pt x="1359" y="243"/>
                </a:lnTo>
                <a:lnTo>
                  <a:pt x="1351" y="248"/>
                </a:lnTo>
                <a:lnTo>
                  <a:pt x="1343" y="253"/>
                </a:lnTo>
                <a:lnTo>
                  <a:pt x="1335" y="259"/>
                </a:lnTo>
                <a:lnTo>
                  <a:pt x="1329" y="266"/>
                </a:lnTo>
                <a:lnTo>
                  <a:pt x="1316" y="278"/>
                </a:lnTo>
                <a:lnTo>
                  <a:pt x="1310" y="285"/>
                </a:lnTo>
                <a:lnTo>
                  <a:pt x="1305" y="291"/>
                </a:lnTo>
                <a:lnTo>
                  <a:pt x="1295" y="306"/>
                </a:lnTo>
                <a:lnTo>
                  <a:pt x="1286" y="320"/>
                </a:lnTo>
                <a:lnTo>
                  <a:pt x="1279" y="335"/>
                </a:lnTo>
                <a:lnTo>
                  <a:pt x="1273" y="349"/>
                </a:lnTo>
                <a:lnTo>
                  <a:pt x="1268" y="364"/>
                </a:lnTo>
                <a:lnTo>
                  <a:pt x="1265" y="377"/>
                </a:lnTo>
                <a:lnTo>
                  <a:pt x="1263" y="390"/>
                </a:lnTo>
                <a:lnTo>
                  <a:pt x="1262" y="412"/>
                </a:lnTo>
                <a:lnTo>
                  <a:pt x="1661" y="412"/>
                </a:lnTo>
                <a:lnTo>
                  <a:pt x="1661" y="390"/>
                </a:lnTo>
                <a:lnTo>
                  <a:pt x="1658" y="377"/>
                </a:lnTo>
                <a:lnTo>
                  <a:pt x="1654" y="364"/>
                </a:lnTo>
                <a:lnTo>
                  <a:pt x="1650" y="349"/>
                </a:lnTo>
                <a:lnTo>
                  <a:pt x="1643" y="335"/>
                </a:lnTo>
                <a:lnTo>
                  <a:pt x="1636" y="320"/>
                </a:lnTo>
                <a:lnTo>
                  <a:pt x="1627" y="306"/>
                </a:lnTo>
                <a:lnTo>
                  <a:pt x="1617" y="291"/>
                </a:lnTo>
                <a:lnTo>
                  <a:pt x="1612" y="285"/>
                </a:lnTo>
                <a:lnTo>
                  <a:pt x="1606" y="278"/>
                </a:lnTo>
                <a:lnTo>
                  <a:pt x="1600" y="271"/>
                </a:lnTo>
                <a:lnTo>
                  <a:pt x="1593" y="266"/>
                </a:lnTo>
                <a:lnTo>
                  <a:pt x="1586" y="259"/>
                </a:lnTo>
                <a:lnTo>
                  <a:pt x="1578" y="253"/>
                </a:lnTo>
                <a:lnTo>
                  <a:pt x="1563" y="243"/>
                </a:lnTo>
                <a:lnTo>
                  <a:pt x="1555" y="238"/>
                </a:lnTo>
                <a:lnTo>
                  <a:pt x="1546" y="233"/>
                </a:lnTo>
                <a:lnTo>
                  <a:pt x="1537" y="230"/>
                </a:lnTo>
                <a:lnTo>
                  <a:pt x="1527" y="227"/>
                </a:lnTo>
                <a:lnTo>
                  <a:pt x="1517" y="223"/>
                </a:lnTo>
                <a:lnTo>
                  <a:pt x="1507" y="221"/>
                </a:lnTo>
                <a:lnTo>
                  <a:pt x="1496" y="219"/>
                </a:lnTo>
                <a:lnTo>
                  <a:pt x="1485" y="218"/>
                </a:lnTo>
                <a:lnTo>
                  <a:pt x="1472" y="217"/>
                </a:lnTo>
                <a:lnTo>
                  <a:pt x="1460" y="216"/>
                </a:lnTo>
                <a:close/>
                <a:moveTo>
                  <a:pt x="5407" y="410"/>
                </a:moveTo>
                <a:lnTo>
                  <a:pt x="5713" y="410"/>
                </a:lnTo>
                <a:lnTo>
                  <a:pt x="5713" y="368"/>
                </a:lnTo>
                <a:lnTo>
                  <a:pt x="5712" y="356"/>
                </a:lnTo>
                <a:lnTo>
                  <a:pt x="5710" y="344"/>
                </a:lnTo>
                <a:lnTo>
                  <a:pt x="5707" y="331"/>
                </a:lnTo>
                <a:lnTo>
                  <a:pt x="5702" y="320"/>
                </a:lnTo>
                <a:lnTo>
                  <a:pt x="5697" y="308"/>
                </a:lnTo>
                <a:lnTo>
                  <a:pt x="5693" y="302"/>
                </a:lnTo>
                <a:lnTo>
                  <a:pt x="5690" y="297"/>
                </a:lnTo>
                <a:lnTo>
                  <a:pt x="5681" y="286"/>
                </a:lnTo>
                <a:lnTo>
                  <a:pt x="5671" y="276"/>
                </a:lnTo>
                <a:lnTo>
                  <a:pt x="5660" y="267"/>
                </a:lnTo>
                <a:lnTo>
                  <a:pt x="5654" y="262"/>
                </a:lnTo>
                <a:lnTo>
                  <a:pt x="5648" y="258"/>
                </a:lnTo>
                <a:lnTo>
                  <a:pt x="5641" y="255"/>
                </a:lnTo>
                <a:lnTo>
                  <a:pt x="5633" y="251"/>
                </a:lnTo>
                <a:lnTo>
                  <a:pt x="5619" y="245"/>
                </a:lnTo>
                <a:lnTo>
                  <a:pt x="5602" y="239"/>
                </a:lnTo>
                <a:lnTo>
                  <a:pt x="5583" y="236"/>
                </a:lnTo>
                <a:lnTo>
                  <a:pt x="5574" y="233"/>
                </a:lnTo>
                <a:lnTo>
                  <a:pt x="5564" y="233"/>
                </a:lnTo>
                <a:lnTo>
                  <a:pt x="5553" y="232"/>
                </a:lnTo>
                <a:lnTo>
                  <a:pt x="5543" y="232"/>
                </a:lnTo>
                <a:lnTo>
                  <a:pt x="5520" y="232"/>
                </a:lnTo>
                <a:lnTo>
                  <a:pt x="5499" y="233"/>
                </a:lnTo>
                <a:lnTo>
                  <a:pt x="5481" y="236"/>
                </a:lnTo>
                <a:lnTo>
                  <a:pt x="5465" y="238"/>
                </a:lnTo>
                <a:lnTo>
                  <a:pt x="5449" y="241"/>
                </a:lnTo>
                <a:lnTo>
                  <a:pt x="5436" y="246"/>
                </a:lnTo>
                <a:lnTo>
                  <a:pt x="5423" y="251"/>
                </a:lnTo>
                <a:lnTo>
                  <a:pt x="5419" y="253"/>
                </a:lnTo>
                <a:lnTo>
                  <a:pt x="5413" y="257"/>
                </a:lnTo>
                <a:lnTo>
                  <a:pt x="5403" y="263"/>
                </a:lnTo>
                <a:lnTo>
                  <a:pt x="5399" y="267"/>
                </a:lnTo>
                <a:lnTo>
                  <a:pt x="5396" y="270"/>
                </a:lnTo>
                <a:lnTo>
                  <a:pt x="5388" y="278"/>
                </a:lnTo>
                <a:lnTo>
                  <a:pt x="5381" y="287"/>
                </a:lnTo>
                <a:lnTo>
                  <a:pt x="5375" y="296"/>
                </a:lnTo>
                <a:lnTo>
                  <a:pt x="5371" y="306"/>
                </a:lnTo>
                <a:lnTo>
                  <a:pt x="5367" y="317"/>
                </a:lnTo>
                <a:lnTo>
                  <a:pt x="5362" y="328"/>
                </a:lnTo>
                <a:lnTo>
                  <a:pt x="5360" y="336"/>
                </a:lnTo>
                <a:lnTo>
                  <a:pt x="5100" y="336"/>
                </a:lnTo>
                <a:lnTo>
                  <a:pt x="5103" y="320"/>
                </a:lnTo>
                <a:lnTo>
                  <a:pt x="5109" y="298"/>
                </a:lnTo>
                <a:lnTo>
                  <a:pt x="5116" y="276"/>
                </a:lnTo>
                <a:lnTo>
                  <a:pt x="5123" y="255"/>
                </a:lnTo>
                <a:lnTo>
                  <a:pt x="5131" y="235"/>
                </a:lnTo>
                <a:lnTo>
                  <a:pt x="5135" y="225"/>
                </a:lnTo>
                <a:lnTo>
                  <a:pt x="5139" y="216"/>
                </a:lnTo>
                <a:lnTo>
                  <a:pt x="5148" y="198"/>
                </a:lnTo>
                <a:lnTo>
                  <a:pt x="5157" y="181"/>
                </a:lnTo>
                <a:lnTo>
                  <a:pt x="5167" y="164"/>
                </a:lnTo>
                <a:lnTo>
                  <a:pt x="5177" y="149"/>
                </a:lnTo>
                <a:lnTo>
                  <a:pt x="5188" y="134"/>
                </a:lnTo>
                <a:lnTo>
                  <a:pt x="5194" y="128"/>
                </a:lnTo>
                <a:lnTo>
                  <a:pt x="5199" y="121"/>
                </a:lnTo>
                <a:lnTo>
                  <a:pt x="5206" y="115"/>
                </a:lnTo>
                <a:lnTo>
                  <a:pt x="5211" y="109"/>
                </a:lnTo>
                <a:lnTo>
                  <a:pt x="5224" y="97"/>
                </a:lnTo>
                <a:lnTo>
                  <a:pt x="5237" y="87"/>
                </a:lnTo>
                <a:lnTo>
                  <a:pt x="5251" y="75"/>
                </a:lnTo>
                <a:lnTo>
                  <a:pt x="5264" y="66"/>
                </a:lnTo>
                <a:lnTo>
                  <a:pt x="5278" y="58"/>
                </a:lnTo>
                <a:lnTo>
                  <a:pt x="5293" y="50"/>
                </a:lnTo>
                <a:lnTo>
                  <a:pt x="5309" y="42"/>
                </a:lnTo>
                <a:lnTo>
                  <a:pt x="5324" y="35"/>
                </a:lnTo>
                <a:lnTo>
                  <a:pt x="5340" y="30"/>
                </a:lnTo>
                <a:lnTo>
                  <a:pt x="5356" y="24"/>
                </a:lnTo>
                <a:lnTo>
                  <a:pt x="5373" y="20"/>
                </a:lnTo>
                <a:lnTo>
                  <a:pt x="5390" y="15"/>
                </a:lnTo>
                <a:lnTo>
                  <a:pt x="5408" y="12"/>
                </a:lnTo>
                <a:lnTo>
                  <a:pt x="5427" y="9"/>
                </a:lnTo>
                <a:lnTo>
                  <a:pt x="5445" y="6"/>
                </a:lnTo>
                <a:lnTo>
                  <a:pt x="5464" y="4"/>
                </a:lnTo>
                <a:lnTo>
                  <a:pt x="5483" y="3"/>
                </a:lnTo>
                <a:lnTo>
                  <a:pt x="5503" y="2"/>
                </a:lnTo>
                <a:lnTo>
                  <a:pt x="5523" y="1"/>
                </a:lnTo>
                <a:lnTo>
                  <a:pt x="5543" y="1"/>
                </a:lnTo>
                <a:lnTo>
                  <a:pt x="5565" y="1"/>
                </a:lnTo>
                <a:lnTo>
                  <a:pt x="5586" y="2"/>
                </a:lnTo>
                <a:lnTo>
                  <a:pt x="5609" y="4"/>
                </a:lnTo>
                <a:lnTo>
                  <a:pt x="5630" y="7"/>
                </a:lnTo>
                <a:lnTo>
                  <a:pt x="5650" y="12"/>
                </a:lnTo>
                <a:lnTo>
                  <a:pt x="5670" y="16"/>
                </a:lnTo>
                <a:lnTo>
                  <a:pt x="5690" y="22"/>
                </a:lnTo>
                <a:lnTo>
                  <a:pt x="5710" y="28"/>
                </a:lnTo>
                <a:lnTo>
                  <a:pt x="5729" y="35"/>
                </a:lnTo>
                <a:lnTo>
                  <a:pt x="5747" y="43"/>
                </a:lnTo>
                <a:lnTo>
                  <a:pt x="5765" y="51"/>
                </a:lnTo>
                <a:lnTo>
                  <a:pt x="5783" y="60"/>
                </a:lnTo>
                <a:lnTo>
                  <a:pt x="5799" y="70"/>
                </a:lnTo>
                <a:lnTo>
                  <a:pt x="5815" y="81"/>
                </a:lnTo>
                <a:lnTo>
                  <a:pt x="5831" y="92"/>
                </a:lnTo>
                <a:lnTo>
                  <a:pt x="5846" y="104"/>
                </a:lnTo>
                <a:lnTo>
                  <a:pt x="5860" y="117"/>
                </a:lnTo>
                <a:lnTo>
                  <a:pt x="5873" y="130"/>
                </a:lnTo>
                <a:lnTo>
                  <a:pt x="5886" y="143"/>
                </a:lnTo>
                <a:lnTo>
                  <a:pt x="5897" y="158"/>
                </a:lnTo>
                <a:lnTo>
                  <a:pt x="5909" y="172"/>
                </a:lnTo>
                <a:lnTo>
                  <a:pt x="5919" y="188"/>
                </a:lnTo>
                <a:lnTo>
                  <a:pt x="5929" y="203"/>
                </a:lnTo>
                <a:lnTo>
                  <a:pt x="5937" y="220"/>
                </a:lnTo>
                <a:lnTo>
                  <a:pt x="5941" y="229"/>
                </a:lnTo>
                <a:lnTo>
                  <a:pt x="5944" y="237"/>
                </a:lnTo>
                <a:lnTo>
                  <a:pt x="5948" y="246"/>
                </a:lnTo>
                <a:lnTo>
                  <a:pt x="5951" y="255"/>
                </a:lnTo>
                <a:lnTo>
                  <a:pt x="5957" y="272"/>
                </a:lnTo>
                <a:lnTo>
                  <a:pt x="5962" y="290"/>
                </a:lnTo>
                <a:lnTo>
                  <a:pt x="5963" y="300"/>
                </a:lnTo>
                <a:lnTo>
                  <a:pt x="5966" y="309"/>
                </a:lnTo>
                <a:lnTo>
                  <a:pt x="5968" y="329"/>
                </a:lnTo>
                <a:lnTo>
                  <a:pt x="5970" y="348"/>
                </a:lnTo>
                <a:lnTo>
                  <a:pt x="5970" y="368"/>
                </a:lnTo>
                <a:lnTo>
                  <a:pt x="5971" y="492"/>
                </a:lnTo>
                <a:lnTo>
                  <a:pt x="5970" y="616"/>
                </a:lnTo>
                <a:lnTo>
                  <a:pt x="5970" y="1093"/>
                </a:lnTo>
                <a:lnTo>
                  <a:pt x="5728" y="1093"/>
                </a:lnTo>
                <a:lnTo>
                  <a:pt x="5628" y="1093"/>
                </a:lnTo>
                <a:lnTo>
                  <a:pt x="5525" y="1093"/>
                </a:lnTo>
                <a:lnTo>
                  <a:pt x="5407" y="1093"/>
                </a:lnTo>
                <a:lnTo>
                  <a:pt x="5388" y="1093"/>
                </a:lnTo>
                <a:lnTo>
                  <a:pt x="5369" y="1092"/>
                </a:lnTo>
                <a:lnTo>
                  <a:pt x="5351" y="1089"/>
                </a:lnTo>
                <a:lnTo>
                  <a:pt x="5333" y="1087"/>
                </a:lnTo>
                <a:lnTo>
                  <a:pt x="5315" y="1084"/>
                </a:lnTo>
                <a:lnTo>
                  <a:pt x="5298" y="1079"/>
                </a:lnTo>
                <a:lnTo>
                  <a:pt x="5282" y="1075"/>
                </a:lnTo>
                <a:lnTo>
                  <a:pt x="5265" y="1069"/>
                </a:lnTo>
                <a:lnTo>
                  <a:pt x="5249" y="1064"/>
                </a:lnTo>
                <a:lnTo>
                  <a:pt x="5234" y="1056"/>
                </a:lnTo>
                <a:lnTo>
                  <a:pt x="5218" y="1049"/>
                </a:lnTo>
                <a:lnTo>
                  <a:pt x="5204" y="1040"/>
                </a:lnTo>
                <a:lnTo>
                  <a:pt x="5189" y="1032"/>
                </a:lnTo>
                <a:lnTo>
                  <a:pt x="5176" y="1023"/>
                </a:lnTo>
                <a:lnTo>
                  <a:pt x="5162" y="1013"/>
                </a:lnTo>
                <a:lnTo>
                  <a:pt x="5150" y="1001"/>
                </a:lnTo>
                <a:lnTo>
                  <a:pt x="5138" y="990"/>
                </a:lnTo>
                <a:lnTo>
                  <a:pt x="5127" y="979"/>
                </a:lnTo>
                <a:lnTo>
                  <a:pt x="5117" y="967"/>
                </a:lnTo>
                <a:lnTo>
                  <a:pt x="5107" y="954"/>
                </a:lnTo>
                <a:lnTo>
                  <a:pt x="5097" y="940"/>
                </a:lnTo>
                <a:lnTo>
                  <a:pt x="5089" y="927"/>
                </a:lnTo>
                <a:lnTo>
                  <a:pt x="5080" y="912"/>
                </a:lnTo>
                <a:lnTo>
                  <a:pt x="5073" y="898"/>
                </a:lnTo>
                <a:lnTo>
                  <a:pt x="5066" y="882"/>
                </a:lnTo>
                <a:lnTo>
                  <a:pt x="5061" y="867"/>
                </a:lnTo>
                <a:lnTo>
                  <a:pt x="5056" y="850"/>
                </a:lnTo>
                <a:lnTo>
                  <a:pt x="5052" y="833"/>
                </a:lnTo>
                <a:lnTo>
                  <a:pt x="5049" y="817"/>
                </a:lnTo>
                <a:lnTo>
                  <a:pt x="5046" y="800"/>
                </a:lnTo>
                <a:lnTo>
                  <a:pt x="5045" y="782"/>
                </a:lnTo>
                <a:lnTo>
                  <a:pt x="5045" y="763"/>
                </a:lnTo>
                <a:lnTo>
                  <a:pt x="5045" y="745"/>
                </a:lnTo>
                <a:lnTo>
                  <a:pt x="5046" y="728"/>
                </a:lnTo>
                <a:lnTo>
                  <a:pt x="5049" y="710"/>
                </a:lnTo>
                <a:lnTo>
                  <a:pt x="5052" y="693"/>
                </a:lnTo>
                <a:lnTo>
                  <a:pt x="5056" y="675"/>
                </a:lnTo>
                <a:lnTo>
                  <a:pt x="5061" y="659"/>
                </a:lnTo>
                <a:lnTo>
                  <a:pt x="5066" y="642"/>
                </a:lnTo>
                <a:lnTo>
                  <a:pt x="5073" y="626"/>
                </a:lnTo>
                <a:lnTo>
                  <a:pt x="5080" y="611"/>
                </a:lnTo>
                <a:lnTo>
                  <a:pt x="5088" y="595"/>
                </a:lnTo>
                <a:lnTo>
                  <a:pt x="5097" y="581"/>
                </a:lnTo>
                <a:lnTo>
                  <a:pt x="5106" y="566"/>
                </a:lnTo>
                <a:lnTo>
                  <a:pt x="5116" y="553"/>
                </a:lnTo>
                <a:lnTo>
                  <a:pt x="5127" y="540"/>
                </a:lnTo>
                <a:lnTo>
                  <a:pt x="5138" y="526"/>
                </a:lnTo>
                <a:lnTo>
                  <a:pt x="5150" y="514"/>
                </a:lnTo>
                <a:lnTo>
                  <a:pt x="5162" y="503"/>
                </a:lnTo>
                <a:lnTo>
                  <a:pt x="5176" y="492"/>
                </a:lnTo>
                <a:lnTo>
                  <a:pt x="5189" y="481"/>
                </a:lnTo>
                <a:lnTo>
                  <a:pt x="5203" y="472"/>
                </a:lnTo>
                <a:lnTo>
                  <a:pt x="5218" y="462"/>
                </a:lnTo>
                <a:lnTo>
                  <a:pt x="5233" y="454"/>
                </a:lnTo>
                <a:lnTo>
                  <a:pt x="5248" y="446"/>
                </a:lnTo>
                <a:lnTo>
                  <a:pt x="5265" y="438"/>
                </a:lnTo>
                <a:lnTo>
                  <a:pt x="5281" y="433"/>
                </a:lnTo>
                <a:lnTo>
                  <a:pt x="5298" y="427"/>
                </a:lnTo>
                <a:lnTo>
                  <a:pt x="5315" y="422"/>
                </a:lnTo>
                <a:lnTo>
                  <a:pt x="5333" y="418"/>
                </a:lnTo>
                <a:lnTo>
                  <a:pt x="5351" y="415"/>
                </a:lnTo>
                <a:lnTo>
                  <a:pt x="5369" y="413"/>
                </a:lnTo>
                <a:lnTo>
                  <a:pt x="5388" y="412"/>
                </a:lnTo>
                <a:lnTo>
                  <a:pt x="5407" y="410"/>
                </a:lnTo>
                <a:close/>
                <a:moveTo>
                  <a:pt x="5713" y="835"/>
                </a:moveTo>
                <a:lnTo>
                  <a:pt x="5712" y="750"/>
                </a:lnTo>
                <a:lnTo>
                  <a:pt x="5712" y="634"/>
                </a:lnTo>
                <a:lnTo>
                  <a:pt x="5428" y="634"/>
                </a:lnTo>
                <a:lnTo>
                  <a:pt x="5413" y="634"/>
                </a:lnTo>
                <a:lnTo>
                  <a:pt x="5407" y="635"/>
                </a:lnTo>
                <a:lnTo>
                  <a:pt x="5400" y="636"/>
                </a:lnTo>
                <a:lnTo>
                  <a:pt x="5388" y="640"/>
                </a:lnTo>
                <a:lnTo>
                  <a:pt x="5382" y="641"/>
                </a:lnTo>
                <a:lnTo>
                  <a:pt x="5375" y="643"/>
                </a:lnTo>
                <a:lnTo>
                  <a:pt x="5365" y="649"/>
                </a:lnTo>
                <a:lnTo>
                  <a:pt x="5354" y="655"/>
                </a:lnTo>
                <a:lnTo>
                  <a:pt x="5345" y="662"/>
                </a:lnTo>
                <a:lnTo>
                  <a:pt x="5336" y="670"/>
                </a:lnTo>
                <a:lnTo>
                  <a:pt x="5333" y="674"/>
                </a:lnTo>
                <a:lnTo>
                  <a:pt x="5329" y="679"/>
                </a:lnTo>
                <a:lnTo>
                  <a:pt x="5322" y="688"/>
                </a:lnTo>
                <a:lnTo>
                  <a:pt x="5316" y="696"/>
                </a:lnTo>
                <a:lnTo>
                  <a:pt x="5312" y="708"/>
                </a:lnTo>
                <a:lnTo>
                  <a:pt x="5309" y="718"/>
                </a:lnTo>
                <a:lnTo>
                  <a:pt x="5305" y="729"/>
                </a:lnTo>
                <a:lnTo>
                  <a:pt x="5304" y="739"/>
                </a:lnTo>
                <a:lnTo>
                  <a:pt x="5303" y="750"/>
                </a:lnTo>
                <a:lnTo>
                  <a:pt x="5304" y="761"/>
                </a:lnTo>
                <a:lnTo>
                  <a:pt x="5305" y="772"/>
                </a:lnTo>
                <a:lnTo>
                  <a:pt x="5309" y="783"/>
                </a:lnTo>
                <a:lnTo>
                  <a:pt x="5312" y="793"/>
                </a:lnTo>
                <a:lnTo>
                  <a:pt x="5316" y="803"/>
                </a:lnTo>
                <a:lnTo>
                  <a:pt x="5320" y="808"/>
                </a:lnTo>
                <a:lnTo>
                  <a:pt x="5322" y="812"/>
                </a:lnTo>
                <a:lnTo>
                  <a:pt x="5329" y="822"/>
                </a:lnTo>
                <a:lnTo>
                  <a:pt x="5336" y="830"/>
                </a:lnTo>
                <a:lnTo>
                  <a:pt x="5345" y="838"/>
                </a:lnTo>
                <a:lnTo>
                  <a:pt x="5354" y="845"/>
                </a:lnTo>
                <a:lnTo>
                  <a:pt x="5364" y="851"/>
                </a:lnTo>
                <a:lnTo>
                  <a:pt x="5375" y="857"/>
                </a:lnTo>
                <a:lnTo>
                  <a:pt x="5388" y="861"/>
                </a:lnTo>
                <a:lnTo>
                  <a:pt x="5400" y="863"/>
                </a:lnTo>
                <a:lnTo>
                  <a:pt x="5407" y="865"/>
                </a:lnTo>
                <a:lnTo>
                  <a:pt x="5413" y="866"/>
                </a:lnTo>
                <a:lnTo>
                  <a:pt x="5428" y="867"/>
                </a:lnTo>
                <a:lnTo>
                  <a:pt x="5713" y="867"/>
                </a:lnTo>
                <a:lnTo>
                  <a:pt x="5713" y="835"/>
                </a:lnTo>
                <a:close/>
                <a:moveTo>
                  <a:pt x="254" y="405"/>
                </a:moveTo>
                <a:lnTo>
                  <a:pt x="260" y="404"/>
                </a:lnTo>
                <a:lnTo>
                  <a:pt x="271" y="400"/>
                </a:lnTo>
                <a:lnTo>
                  <a:pt x="282" y="397"/>
                </a:lnTo>
                <a:lnTo>
                  <a:pt x="305" y="390"/>
                </a:lnTo>
                <a:lnTo>
                  <a:pt x="325" y="381"/>
                </a:lnTo>
                <a:lnTo>
                  <a:pt x="345" y="371"/>
                </a:lnTo>
                <a:lnTo>
                  <a:pt x="364" y="360"/>
                </a:lnTo>
                <a:lnTo>
                  <a:pt x="383" y="349"/>
                </a:lnTo>
                <a:lnTo>
                  <a:pt x="399" y="336"/>
                </a:lnTo>
                <a:lnTo>
                  <a:pt x="416" y="322"/>
                </a:lnTo>
                <a:lnTo>
                  <a:pt x="432" y="308"/>
                </a:lnTo>
                <a:lnTo>
                  <a:pt x="447" y="294"/>
                </a:lnTo>
                <a:lnTo>
                  <a:pt x="462" y="279"/>
                </a:lnTo>
                <a:lnTo>
                  <a:pt x="468" y="271"/>
                </a:lnTo>
                <a:lnTo>
                  <a:pt x="475" y="263"/>
                </a:lnTo>
                <a:lnTo>
                  <a:pt x="487" y="247"/>
                </a:lnTo>
                <a:lnTo>
                  <a:pt x="500" y="231"/>
                </a:lnTo>
                <a:lnTo>
                  <a:pt x="511" y="216"/>
                </a:lnTo>
                <a:lnTo>
                  <a:pt x="521" y="199"/>
                </a:lnTo>
                <a:lnTo>
                  <a:pt x="540" y="168"/>
                </a:lnTo>
                <a:lnTo>
                  <a:pt x="557" y="138"/>
                </a:lnTo>
                <a:lnTo>
                  <a:pt x="570" y="111"/>
                </a:lnTo>
                <a:lnTo>
                  <a:pt x="580" y="87"/>
                </a:lnTo>
                <a:lnTo>
                  <a:pt x="589" y="65"/>
                </a:lnTo>
                <a:lnTo>
                  <a:pt x="595" y="50"/>
                </a:lnTo>
                <a:lnTo>
                  <a:pt x="599" y="35"/>
                </a:lnTo>
                <a:lnTo>
                  <a:pt x="605" y="20"/>
                </a:lnTo>
                <a:lnTo>
                  <a:pt x="843" y="20"/>
                </a:lnTo>
                <a:lnTo>
                  <a:pt x="840" y="42"/>
                </a:lnTo>
                <a:lnTo>
                  <a:pt x="837" y="58"/>
                </a:lnTo>
                <a:lnTo>
                  <a:pt x="833" y="75"/>
                </a:lnTo>
                <a:lnTo>
                  <a:pt x="827" y="99"/>
                </a:lnTo>
                <a:lnTo>
                  <a:pt x="819" y="127"/>
                </a:lnTo>
                <a:lnTo>
                  <a:pt x="809" y="160"/>
                </a:lnTo>
                <a:lnTo>
                  <a:pt x="802" y="178"/>
                </a:lnTo>
                <a:lnTo>
                  <a:pt x="794" y="196"/>
                </a:lnTo>
                <a:lnTo>
                  <a:pt x="786" y="215"/>
                </a:lnTo>
                <a:lnTo>
                  <a:pt x="777" y="235"/>
                </a:lnTo>
                <a:lnTo>
                  <a:pt x="769" y="253"/>
                </a:lnTo>
                <a:lnTo>
                  <a:pt x="760" y="274"/>
                </a:lnTo>
                <a:lnTo>
                  <a:pt x="748" y="292"/>
                </a:lnTo>
                <a:lnTo>
                  <a:pt x="737" y="312"/>
                </a:lnTo>
                <a:lnTo>
                  <a:pt x="725" y="332"/>
                </a:lnTo>
                <a:lnTo>
                  <a:pt x="712" y="353"/>
                </a:lnTo>
                <a:lnTo>
                  <a:pt x="697" y="373"/>
                </a:lnTo>
                <a:lnTo>
                  <a:pt x="682" y="393"/>
                </a:lnTo>
                <a:lnTo>
                  <a:pt x="666" y="413"/>
                </a:lnTo>
                <a:lnTo>
                  <a:pt x="648" y="433"/>
                </a:lnTo>
                <a:lnTo>
                  <a:pt x="630" y="452"/>
                </a:lnTo>
                <a:lnTo>
                  <a:pt x="610" y="471"/>
                </a:lnTo>
                <a:lnTo>
                  <a:pt x="590" y="489"/>
                </a:lnTo>
                <a:lnTo>
                  <a:pt x="579" y="498"/>
                </a:lnTo>
                <a:lnTo>
                  <a:pt x="568" y="507"/>
                </a:lnTo>
                <a:lnTo>
                  <a:pt x="545" y="524"/>
                </a:lnTo>
                <a:lnTo>
                  <a:pt x="521" y="541"/>
                </a:lnTo>
                <a:lnTo>
                  <a:pt x="514" y="545"/>
                </a:lnTo>
                <a:lnTo>
                  <a:pt x="521" y="548"/>
                </a:lnTo>
                <a:lnTo>
                  <a:pt x="545" y="565"/>
                </a:lnTo>
                <a:lnTo>
                  <a:pt x="569" y="584"/>
                </a:lnTo>
                <a:lnTo>
                  <a:pt x="591" y="602"/>
                </a:lnTo>
                <a:lnTo>
                  <a:pt x="612" y="622"/>
                </a:lnTo>
                <a:lnTo>
                  <a:pt x="632" y="641"/>
                </a:lnTo>
                <a:lnTo>
                  <a:pt x="641" y="651"/>
                </a:lnTo>
                <a:lnTo>
                  <a:pt x="651" y="661"/>
                </a:lnTo>
                <a:lnTo>
                  <a:pt x="660" y="672"/>
                </a:lnTo>
                <a:lnTo>
                  <a:pt x="668" y="682"/>
                </a:lnTo>
                <a:lnTo>
                  <a:pt x="685" y="703"/>
                </a:lnTo>
                <a:lnTo>
                  <a:pt x="701" y="724"/>
                </a:lnTo>
                <a:lnTo>
                  <a:pt x="715" y="745"/>
                </a:lnTo>
                <a:lnTo>
                  <a:pt x="728" y="767"/>
                </a:lnTo>
                <a:lnTo>
                  <a:pt x="742" y="788"/>
                </a:lnTo>
                <a:lnTo>
                  <a:pt x="753" y="809"/>
                </a:lnTo>
                <a:lnTo>
                  <a:pt x="764" y="829"/>
                </a:lnTo>
                <a:lnTo>
                  <a:pt x="774" y="850"/>
                </a:lnTo>
                <a:lnTo>
                  <a:pt x="783" y="870"/>
                </a:lnTo>
                <a:lnTo>
                  <a:pt x="792" y="890"/>
                </a:lnTo>
                <a:lnTo>
                  <a:pt x="801" y="911"/>
                </a:lnTo>
                <a:lnTo>
                  <a:pt x="808" y="930"/>
                </a:lnTo>
                <a:lnTo>
                  <a:pt x="814" y="949"/>
                </a:lnTo>
                <a:lnTo>
                  <a:pt x="820" y="967"/>
                </a:lnTo>
                <a:lnTo>
                  <a:pt x="825" y="984"/>
                </a:lnTo>
                <a:lnTo>
                  <a:pt x="833" y="1014"/>
                </a:lnTo>
                <a:lnTo>
                  <a:pt x="839" y="1038"/>
                </a:lnTo>
                <a:lnTo>
                  <a:pt x="843" y="1057"/>
                </a:lnTo>
                <a:lnTo>
                  <a:pt x="846" y="1074"/>
                </a:lnTo>
                <a:lnTo>
                  <a:pt x="849" y="1093"/>
                </a:lnTo>
                <a:lnTo>
                  <a:pt x="609" y="1093"/>
                </a:lnTo>
                <a:lnTo>
                  <a:pt x="607" y="1083"/>
                </a:lnTo>
                <a:lnTo>
                  <a:pt x="601" y="1067"/>
                </a:lnTo>
                <a:lnTo>
                  <a:pt x="596" y="1049"/>
                </a:lnTo>
                <a:lnTo>
                  <a:pt x="587" y="1027"/>
                </a:lnTo>
                <a:lnTo>
                  <a:pt x="576" y="1000"/>
                </a:lnTo>
                <a:lnTo>
                  <a:pt x="562" y="970"/>
                </a:lnTo>
                <a:lnTo>
                  <a:pt x="545" y="938"/>
                </a:lnTo>
                <a:lnTo>
                  <a:pt x="537" y="921"/>
                </a:lnTo>
                <a:lnTo>
                  <a:pt x="527" y="904"/>
                </a:lnTo>
                <a:lnTo>
                  <a:pt x="515" y="887"/>
                </a:lnTo>
                <a:lnTo>
                  <a:pt x="504" y="869"/>
                </a:lnTo>
                <a:lnTo>
                  <a:pt x="492" y="851"/>
                </a:lnTo>
                <a:lnTo>
                  <a:pt x="479" y="835"/>
                </a:lnTo>
                <a:lnTo>
                  <a:pt x="472" y="826"/>
                </a:lnTo>
                <a:lnTo>
                  <a:pt x="465" y="818"/>
                </a:lnTo>
                <a:lnTo>
                  <a:pt x="451" y="801"/>
                </a:lnTo>
                <a:lnTo>
                  <a:pt x="435" y="786"/>
                </a:lnTo>
                <a:lnTo>
                  <a:pt x="419" y="770"/>
                </a:lnTo>
                <a:lnTo>
                  <a:pt x="403" y="755"/>
                </a:lnTo>
                <a:lnTo>
                  <a:pt x="385" y="742"/>
                </a:lnTo>
                <a:lnTo>
                  <a:pt x="375" y="735"/>
                </a:lnTo>
                <a:lnTo>
                  <a:pt x="366" y="730"/>
                </a:lnTo>
                <a:lnTo>
                  <a:pt x="347" y="718"/>
                </a:lnTo>
                <a:lnTo>
                  <a:pt x="326" y="708"/>
                </a:lnTo>
                <a:lnTo>
                  <a:pt x="316" y="703"/>
                </a:lnTo>
                <a:lnTo>
                  <a:pt x="305" y="699"/>
                </a:lnTo>
                <a:lnTo>
                  <a:pt x="294" y="694"/>
                </a:lnTo>
                <a:lnTo>
                  <a:pt x="283" y="691"/>
                </a:lnTo>
                <a:lnTo>
                  <a:pt x="260" y="685"/>
                </a:lnTo>
                <a:lnTo>
                  <a:pt x="254" y="684"/>
                </a:lnTo>
                <a:lnTo>
                  <a:pt x="254" y="1093"/>
                </a:lnTo>
                <a:lnTo>
                  <a:pt x="0" y="1093"/>
                </a:lnTo>
                <a:lnTo>
                  <a:pt x="0" y="556"/>
                </a:lnTo>
                <a:lnTo>
                  <a:pt x="0" y="20"/>
                </a:lnTo>
                <a:lnTo>
                  <a:pt x="254" y="20"/>
                </a:lnTo>
                <a:lnTo>
                  <a:pt x="254" y="405"/>
                </a:lnTo>
                <a:close/>
                <a:moveTo>
                  <a:pt x="3423" y="367"/>
                </a:moveTo>
                <a:lnTo>
                  <a:pt x="3423" y="1093"/>
                </a:lnTo>
                <a:lnTo>
                  <a:pt x="3168" y="1093"/>
                </a:lnTo>
                <a:lnTo>
                  <a:pt x="3168" y="363"/>
                </a:lnTo>
                <a:lnTo>
                  <a:pt x="3168" y="349"/>
                </a:lnTo>
                <a:lnTo>
                  <a:pt x="3166" y="336"/>
                </a:lnTo>
                <a:lnTo>
                  <a:pt x="3162" y="324"/>
                </a:lnTo>
                <a:lnTo>
                  <a:pt x="3161" y="318"/>
                </a:lnTo>
                <a:lnTo>
                  <a:pt x="3159" y="312"/>
                </a:lnTo>
                <a:lnTo>
                  <a:pt x="3153" y="301"/>
                </a:lnTo>
                <a:lnTo>
                  <a:pt x="3147" y="290"/>
                </a:lnTo>
                <a:lnTo>
                  <a:pt x="3140" y="280"/>
                </a:lnTo>
                <a:lnTo>
                  <a:pt x="3132" y="271"/>
                </a:lnTo>
                <a:lnTo>
                  <a:pt x="3123" y="263"/>
                </a:lnTo>
                <a:lnTo>
                  <a:pt x="3114" y="257"/>
                </a:lnTo>
                <a:lnTo>
                  <a:pt x="3109" y="253"/>
                </a:lnTo>
                <a:lnTo>
                  <a:pt x="3104" y="250"/>
                </a:lnTo>
                <a:lnTo>
                  <a:pt x="3093" y="245"/>
                </a:lnTo>
                <a:lnTo>
                  <a:pt x="3088" y="242"/>
                </a:lnTo>
                <a:lnTo>
                  <a:pt x="3082" y="241"/>
                </a:lnTo>
                <a:lnTo>
                  <a:pt x="3070" y="238"/>
                </a:lnTo>
                <a:lnTo>
                  <a:pt x="3058" y="236"/>
                </a:lnTo>
                <a:lnTo>
                  <a:pt x="3045" y="236"/>
                </a:lnTo>
                <a:lnTo>
                  <a:pt x="3033" y="236"/>
                </a:lnTo>
                <a:lnTo>
                  <a:pt x="3021" y="238"/>
                </a:lnTo>
                <a:lnTo>
                  <a:pt x="3008" y="241"/>
                </a:lnTo>
                <a:lnTo>
                  <a:pt x="2997" y="246"/>
                </a:lnTo>
                <a:lnTo>
                  <a:pt x="2992" y="248"/>
                </a:lnTo>
                <a:lnTo>
                  <a:pt x="2986" y="251"/>
                </a:lnTo>
                <a:lnTo>
                  <a:pt x="2976" y="258"/>
                </a:lnTo>
                <a:lnTo>
                  <a:pt x="2972" y="261"/>
                </a:lnTo>
                <a:lnTo>
                  <a:pt x="2967" y="265"/>
                </a:lnTo>
                <a:lnTo>
                  <a:pt x="2958" y="274"/>
                </a:lnTo>
                <a:lnTo>
                  <a:pt x="2950" y="282"/>
                </a:lnTo>
                <a:lnTo>
                  <a:pt x="2946" y="287"/>
                </a:lnTo>
                <a:lnTo>
                  <a:pt x="2943" y="292"/>
                </a:lnTo>
                <a:lnTo>
                  <a:pt x="2937" y="304"/>
                </a:lnTo>
                <a:lnTo>
                  <a:pt x="2931" y="315"/>
                </a:lnTo>
                <a:lnTo>
                  <a:pt x="2929" y="320"/>
                </a:lnTo>
                <a:lnTo>
                  <a:pt x="2927" y="326"/>
                </a:lnTo>
                <a:lnTo>
                  <a:pt x="2924" y="339"/>
                </a:lnTo>
                <a:lnTo>
                  <a:pt x="2923" y="351"/>
                </a:lnTo>
                <a:lnTo>
                  <a:pt x="2921" y="358"/>
                </a:lnTo>
                <a:lnTo>
                  <a:pt x="2921" y="365"/>
                </a:lnTo>
                <a:lnTo>
                  <a:pt x="2921" y="1093"/>
                </a:lnTo>
                <a:lnTo>
                  <a:pt x="2669" y="1093"/>
                </a:lnTo>
                <a:lnTo>
                  <a:pt x="2669" y="365"/>
                </a:lnTo>
                <a:lnTo>
                  <a:pt x="2669" y="351"/>
                </a:lnTo>
                <a:lnTo>
                  <a:pt x="2667" y="339"/>
                </a:lnTo>
                <a:lnTo>
                  <a:pt x="2664" y="326"/>
                </a:lnTo>
                <a:lnTo>
                  <a:pt x="2663" y="320"/>
                </a:lnTo>
                <a:lnTo>
                  <a:pt x="2660" y="315"/>
                </a:lnTo>
                <a:lnTo>
                  <a:pt x="2655" y="304"/>
                </a:lnTo>
                <a:lnTo>
                  <a:pt x="2648" y="292"/>
                </a:lnTo>
                <a:lnTo>
                  <a:pt x="2641" y="282"/>
                </a:lnTo>
                <a:lnTo>
                  <a:pt x="2637" y="278"/>
                </a:lnTo>
                <a:lnTo>
                  <a:pt x="2634" y="274"/>
                </a:lnTo>
                <a:lnTo>
                  <a:pt x="2629" y="269"/>
                </a:lnTo>
                <a:lnTo>
                  <a:pt x="2625" y="265"/>
                </a:lnTo>
                <a:lnTo>
                  <a:pt x="2615" y="258"/>
                </a:lnTo>
                <a:lnTo>
                  <a:pt x="2605" y="251"/>
                </a:lnTo>
                <a:lnTo>
                  <a:pt x="2593" y="246"/>
                </a:lnTo>
                <a:lnTo>
                  <a:pt x="2582" y="241"/>
                </a:lnTo>
                <a:lnTo>
                  <a:pt x="2577" y="239"/>
                </a:lnTo>
                <a:lnTo>
                  <a:pt x="2571" y="238"/>
                </a:lnTo>
                <a:lnTo>
                  <a:pt x="2559" y="236"/>
                </a:lnTo>
                <a:lnTo>
                  <a:pt x="2552" y="236"/>
                </a:lnTo>
                <a:lnTo>
                  <a:pt x="2546" y="236"/>
                </a:lnTo>
                <a:lnTo>
                  <a:pt x="2533" y="236"/>
                </a:lnTo>
                <a:lnTo>
                  <a:pt x="2528" y="237"/>
                </a:lnTo>
                <a:lnTo>
                  <a:pt x="2521" y="238"/>
                </a:lnTo>
                <a:lnTo>
                  <a:pt x="2510" y="241"/>
                </a:lnTo>
                <a:lnTo>
                  <a:pt x="2499" y="245"/>
                </a:lnTo>
                <a:lnTo>
                  <a:pt x="2488" y="250"/>
                </a:lnTo>
                <a:lnTo>
                  <a:pt x="2477" y="257"/>
                </a:lnTo>
                <a:lnTo>
                  <a:pt x="2467" y="263"/>
                </a:lnTo>
                <a:lnTo>
                  <a:pt x="2460" y="271"/>
                </a:lnTo>
                <a:lnTo>
                  <a:pt x="2451" y="280"/>
                </a:lnTo>
                <a:lnTo>
                  <a:pt x="2444" y="290"/>
                </a:lnTo>
                <a:lnTo>
                  <a:pt x="2438" y="301"/>
                </a:lnTo>
                <a:lnTo>
                  <a:pt x="2433" y="312"/>
                </a:lnTo>
                <a:lnTo>
                  <a:pt x="2431" y="318"/>
                </a:lnTo>
                <a:lnTo>
                  <a:pt x="2428" y="324"/>
                </a:lnTo>
                <a:lnTo>
                  <a:pt x="2425" y="336"/>
                </a:lnTo>
                <a:lnTo>
                  <a:pt x="2424" y="349"/>
                </a:lnTo>
                <a:lnTo>
                  <a:pt x="2423" y="356"/>
                </a:lnTo>
                <a:lnTo>
                  <a:pt x="2423" y="363"/>
                </a:lnTo>
                <a:lnTo>
                  <a:pt x="2423" y="1093"/>
                </a:lnTo>
                <a:lnTo>
                  <a:pt x="2168" y="1093"/>
                </a:lnTo>
                <a:lnTo>
                  <a:pt x="2168" y="367"/>
                </a:lnTo>
                <a:lnTo>
                  <a:pt x="2168" y="348"/>
                </a:lnTo>
                <a:lnTo>
                  <a:pt x="2170" y="329"/>
                </a:lnTo>
                <a:lnTo>
                  <a:pt x="2172" y="310"/>
                </a:lnTo>
                <a:lnTo>
                  <a:pt x="2175" y="292"/>
                </a:lnTo>
                <a:lnTo>
                  <a:pt x="2179" y="275"/>
                </a:lnTo>
                <a:lnTo>
                  <a:pt x="2183" y="258"/>
                </a:lnTo>
                <a:lnTo>
                  <a:pt x="2189" y="240"/>
                </a:lnTo>
                <a:lnTo>
                  <a:pt x="2194" y="223"/>
                </a:lnTo>
                <a:lnTo>
                  <a:pt x="2201" y="208"/>
                </a:lnTo>
                <a:lnTo>
                  <a:pt x="2209" y="192"/>
                </a:lnTo>
                <a:lnTo>
                  <a:pt x="2212" y="184"/>
                </a:lnTo>
                <a:lnTo>
                  <a:pt x="2216" y="177"/>
                </a:lnTo>
                <a:lnTo>
                  <a:pt x="2225" y="161"/>
                </a:lnTo>
                <a:lnTo>
                  <a:pt x="2235" y="148"/>
                </a:lnTo>
                <a:lnTo>
                  <a:pt x="2245" y="133"/>
                </a:lnTo>
                <a:lnTo>
                  <a:pt x="2258" y="120"/>
                </a:lnTo>
                <a:lnTo>
                  <a:pt x="2269" y="108"/>
                </a:lnTo>
                <a:lnTo>
                  <a:pt x="2281" y="95"/>
                </a:lnTo>
                <a:lnTo>
                  <a:pt x="2288" y="90"/>
                </a:lnTo>
                <a:lnTo>
                  <a:pt x="2295" y="83"/>
                </a:lnTo>
                <a:lnTo>
                  <a:pt x="2309" y="73"/>
                </a:lnTo>
                <a:lnTo>
                  <a:pt x="2324" y="63"/>
                </a:lnTo>
                <a:lnTo>
                  <a:pt x="2339" y="53"/>
                </a:lnTo>
                <a:lnTo>
                  <a:pt x="2355" y="44"/>
                </a:lnTo>
                <a:lnTo>
                  <a:pt x="2371" y="36"/>
                </a:lnTo>
                <a:lnTo>
                  <a:pt x="2389" y="29"/>
                </a:lnTo>
                <a:lnTo>
                  <a:pt x="2407" y="22"/>
                </a:lnTo>
                <a:lnTo>
                  <a:pt x="2425" y="16"/>
                </a:lnTo>
                <a:lnTo>
                  <a:pt x="2445" y="12"/>
                </a:lnTo>
                <a:lnTo>
                  <a:pt x="2464" y="7"/>
                </a:lnTo>
                <a:lnTo>
                  <a:pt x="2485" y="4"/>
                </a:lnTo>
                <a:lnTo>
                  <a:pt x="2506" y="2"/>
                </a:lnTo>
                <a:lnTo>
                  <a:pt x="2528" y="1"/>
                </a:lnTo>
                <a:lnTo>
                  <a:pt x="2550" y="1"/>
                </a:lnTo>
                <a:lnTo>
                  <a:pt x="2569" y="1"/>
                </a:lnTo>
                <a:lnTo>
                  <a:pt x="2588" y="2"/>
                </a:lnTo>
                <a:lnTo>
                  <a:pt x="2606" y="4"/>
                </a:lnTo>
                <a:lnTo>
                  <a:pt x="2624" y="6"/>
                </a:lnTo>
                <a:lnTo>
                  <a:pt x="2640" y="10"/>
                </a:lnTo>
                <a:lnTo>
                  <a:pt x="2657" y="13"/>
                </a:lnTo>
                <a:lnTo>
                  <a:pt x="2673" y="17"/>
                </a:lnTo>
                <a:lnTo>
                  <a:pt x="2688" y="22"/>
                </a:lnTo>
                <a:lnTo>
                  <a:pt x="2704" y="28"/>
                </a:lnTo>
                <a:lnTo>
                  <a:pt x="2718" y="34"/>
                </a:lnTo>
                <a:lnTo>
                  <a:pt x="2732" y="41"/>
                </a:lnTo>
                <a:lnTo>
                  <a:pt x="2745" y="48"/>
                </a:lnTo>
                <a:lnTo>
                  <a:pt x="2759" y="55"/>
                </a:lnTo>
                <a:lnTo>
                  <a:pt x="2771" y="64"/>
                </a:lnTo>
                <a:lnTo>
                  <a:pt x="2782" y="72"/>
                </a:lnTo>
                <a:lnTo>
                  <a:pt x="2793" y="82"/>
                </a:lnTo>
                <a:lnTo>
                  <a:pt x="2799" y="82"/>
                </a:lnTo>
                <a:lnTo>
                  <a:pt x="2810" y="72"/>
                </a:lnTo>
                <a:lnTo>
                  <a:pt x="2822" y="64"/>
                </a:lnTo>
                <a:lnTo>
                  <a:pt x="2834" y="55"/>
                </a:lnTo>
                <a:lnTo>
                  <a:pt x="2847" y="48"/>
                </a:lnTo>
                <a:lnTo>
                  <a:pt x="2860" y="41"/>
                </a:lnTo>
                <a:lnTo>
                  <a:pt x="2873" y="34"/>
                </a:lnTo>
                <a:lnTo>
                  <a:pt x="2888" y="28"/>
                </a:lnTo>
                <a:lnTo>
                  <a:pt x="2904" y="22"/>
                </a:lnTo>
                <a:lnTo>
                  <a:pt x="2918" y="17"/>
                </a:lnTo>
                <a:lnTo>
                  <a:pt x="2935" y="13"/>
                </a:lnTo>
                <a:lnTo>
                  <a:pt x="2952" y="10"/>
                </a:lnTo>
                <a:lnTo>
                  <a:pt x="2968" y="6"/>
                </a:lnTo>
                <a:lnTo>
                  <a:pt x="2986" y="4"/>
                </a:lnTo>
                <a:lnTo>
                  <a:pt x="3004" y="2"/>
                </a:lnTo>
                <a:lnTo>
                  <a:pt x="3023" y="1"/>
                </a:lnTo>
                <a:lnTo>
                  <a:pt x="3042" y="1"/>
                </a:lnTo>
                <a:lnTo>
                  <a:pt x="3064" y="1"/>
                </a:lnTo>
                <a:lnTo>
                  <a:pt x="3085" y="2"/>
                </a:lnTo>
                <a:lnTo>
                  <a:pt x="3107" y="4"/>
                </a:lnTo>
                <a:lnTo>
                  <a:pt x="3127" y="7"/>
                </a:lnTo>
                <a:lnTo>
                  <a:pt x="3147" y="12"/>
                </a:lnTo>
                <a:lnTo>
                  <a:pt x="3166" y="16"/>
                </a:lnTo>
                <a:lnTo>
                  <a:pt x="3175" y="20"/>
                </a:lnTo>
                <a:lnTo>
                  <a:pt x="3185" y="22"/>
                </a:lnTo>
                <a:lnTo>
                  <a:pt x="3203" y="29"/>
                </a:lnTo>
                <a:lnTo>
                  <a:pt x="3219" y="36"/>
                </a:lnTo>
                <a:lnTo>
                  <a:pt x="3236" y="44"/>
                </a:lnTo>
                <a:lnTo>
                  <a:pt x="3253" y="53"/>
                </a:lnTo>
                <a:lnTo>
                  <a:pt x="3267" y="63"/>
                </a:lnTo>
                <a:lnTo>
                  <a:pt x="3283" y="73"/>
                </a:lnTo>
                <a:lnTo>
                  <a:pt x="3296" y="83"/>
                </a:lnTo>
                <a:lnTo>
                  <a:pt x="3310" y="95"/>
                </a:lnTo>
                <a:lnTo>
                  <a:pt x="3322" y="108"/>
                </a:lnTo>
                <a:lnTo>
                  <a:pt x="3334" y="120"/>
                </a:lnTo>
                <a:lnTo>
                  <a:pt x="3345" y="133"/>
                </a:lnTo>
                <a:lnTo>
                  <a:pt x="3355" y="148"/>
                </a:lnTo>
                <a:lnTo>
                  <a:pt x="3365" y="161"/>
                </a:lnTo>
                <a:lnTo>
                  <a:pt x="3374" y="177"/>
                </a:lnTo>
                <a:lnTo>
                  <a:pt x="3383" y="192"/>
                </a:lnTo>
                <a:lnTo>
                  <a:pt x="3390" y="208"/>
                </a:lnTo>
                <a:lnTo>
                  <a:pt x="3397" y="223"/>
                </a:lnTo>
                <a:lnTo>
                  <a:pt x="3403" y="240"/>
                </a:lnTo>
                <a:lnTo>
                  <a:pt x="3408" y="258"/>
                </a:lnTo>
                <a:lnTo>
                  <a:pt x="3412" y="275"/>
                </a:lnTo>
                <a:lnTo>
                  <a:pt x="3417" y="292"/>
                </a:lnTo>
                <a:lnTo>
                  <a:pt x="3419" y="310"/>
                </a:lnTo>
                <a:lnTo>
                  <a:pt x="3421" y="329"/>
                </a:lnTo>
                <a:lnTo>
                  <a:pt x="3422" y="348"/>
                </a:lnTo>
                <a:lnTo>
                  <a:pt x="3423" y="367"/>
                </a:lnTo>
                <a:close/>
                <a:moveTo>
                  <a:pt x="4521" y="364"/>
                </a:moveTo>
                <a:lnTo>
                  <a:pt x="4521" y="1093"/>
                </a:lnTo>
                <a:lnTo>
                  <a:pt x="4264" y="1093"/>
                </a:lnTo>
                <a:lnTo>
                  <a:pt x="4264" y="360"/>
                </a:lnTo>
                <a:lnTo>
                  <a:pt x="4264" y="343"/>
                </a:lnTo>
                <a:lnTo>
                  <a:pt x="4266" y="324"/>
                </a:lnTo>
                <a:lnTo>
                  <a:pt x="4268" y="306"/>
                </a:lnTo>
                <a:lnTo>
                  <a:pt x="4270" y="288"/>
                </a:lnTo>
                <a:lnTo>
                  <a:pt x="4274" y="270"/>
                </a:lnTo>
                <a:lnTo>
                  <a:pt x="4279" y="253"/>
                </a:lnTo>
                <a:lnTo>
                  <a:pt x="4283" y="237"/>
                </a:lnTo>
                <a:lnTo>
                  <a:pt x="4290" y="220"/>
                </a:lnTo>
                <a:lnTo>
                  <a:pt x="4297" y="204"/>
                </a:lnTo>
                <a:lnTo>
                  <a:pt x="4300" y="196"/>
                </a:lnTo>
                <a:lnTo>
                  <a:pt x="4303" y="189"/>
                </a:lnTo>
                <a:lnTo>
                  <a:pt x="4312" y="173"/>
                </a:lnTo>
                <a:lnTo>
                  <a:pt x="4321" y="159"/>
                </a:lnTo>
                <a:lnTo>
                  <a:pt x="4330" y="144"/>
                </a:lnTo>
                <a:lnTo>
                  <a:pt x="4341" y="131"/>
                </a:lnTo>
                <a:lnTo>
                  <a:pt x="4353" y="118"/>
                </a:lnTo>
                <a:lnTo>
                  <a:pt x="4364" y="105"/>
                </a:lnTo>
                <a:lnTo>
                  <a:pt x="4377" y="93"/>
                </a:lnTo>
                <a:lnTo>
                  <a:pt x="4389" y="82"/>
                </a:lnTo>
                <a:lnTo>
                  <a:pt x="4404" y="71"/>
                </a:lnTo>
                <a:lnTo>
                  <a:pt x="4418" y="61"/>
                </a:lnTo>
                <a:lnTo>
                  <a:pt x="4434" y="52"/>
                </a:lnTo>
                <a:lnTo>
                  <a:pt x="4450" y="43"/>
                </a:lnTo>
                <a:lnTo>
                  <a:pt x="4466" y="35"/>
                </a:lnTo>
                <a:lnTo>
                  <a:pt x="4483" y="29"/>
                </a:lnTo>
                <a:lnTo>
                  <a:pt x="4502" y="22"/>
                </a:lnTo>
                <a:lnTo>
                  <a:pt x="4520" y="16"/>
                </a:lnTo>
                <a:lnTo>
                  <a:pt x="4539" y="12"/>
                </a:lnTo>
                <a:lnTo>
                  <a:pt x="4559" y="7"/>
                </a:lnTo>
                <a:lnTo>
                  <a:pt x="4579" y="4"/>
                </a:lnTo>
                <a:lnTo>
                  <a:pt x="4600" y="2"/>
                </a:lnTo>
                <a:lnTo>
                  <a:pt x="4621" y="1"/>
                </a:lnTo>
                <a:lnTo>
                  <a:pt x="4644" y="1"/>
                </a:lnTo>
                <a:lnTo>
                  <a:pt x="4667" y="1"/>
                </a:lnTo>
                <a:lnTo>
                  <a:pt x="4689" y="3"/>
                </a:lnTo>
                <a:lnTo>
                  <a:pt x="4711" y="5"/>
                </a:lnTo>
                <a:lnTo>
                  <a:pt x="4732" y="7"/>
                </a:lnTo>
                <a:lnTo>
                  <a:pt x="4752" y="12"/>
                </a:lnTo>
                <a:lnTo>
                  <a:pt x="4771" y="16"/>
                </a:lnTo>
                <a:lnTo>
                  <a:pt x="4789" y="22"/>
                </a:lnTo>
                <a:lnTo>
                  <a:pt x="4807" y="28"/>
                </a:lnTo>
                <a:lnTo>
                  <a:pt x="4823" y="34"/>
                </a:lnTo>
                <a:lnTo>
                  <a:pt x="4839" y="41"/>
                </a:lnTo>
                <a:lnTo>
                  <a:pt x="4855" y="49"/>
                </a:lnTo>
                <a:lnTo>
                  <a:pt x="4869" y="58"/>
                </a:lnTo>
                <a:lnTo>
                  <a:pt x="4882" y="66"/>
                </a:lnTo>
                <a:lnTo>
                  <a:pt x="4895" y="76"/>
                </a:lnTo>
                <a:lnTo>
                  <a:pt x="4907" y="87"/>
                </a:lnTo>
                <a:lnTo>
                  <a:pt x="4919" y="98"/>
                </a:lnTo>
                <a:lnTo>
                  <a:pt x="4930" y="109"/>
                </a:lnTo>
                <a:lnTo>
                  <a:pt x="4940" y="120"/>
                </a:lnTo>
                <a:lnTo>
                  <a:pt x="4949" y="132"/>
                </a:lnTo>
                <a:lnTo>
                  <a:pt x="4958" y="145"/>
                </a:lnTo>
                <a:lnTo>
                  <a:pt x="4967" y="158"/>
                </a:lnTo>
                <a:lnTo>
                  <a:pt x="4975" y="171"/>
                </a:lnTo>
                <a:lnTo>
                  <a:pt x="4982" y="186"/>
                </a:lnTo>
                <a:lnTo>
                  <a:pt x="4988" y="199"/>
                </a:lnTo>
                <a:lnTo>
                  <a:pt x="4994" y="213"/>
                </a:lnTo>
                <a:lnTo>
                  <a:pt x="5000" y="228"/>
                </a:lnTo>
                <a:lnTo>
                  <a:pt x="5004" y="243"/>
                </a:lnTo>
                <a:lnTo>
                  <a:pt x="5007" y="258"/>
                </a:lnTo>
                <a:lnTo>
                  <a:pt x="5012" y="274"/>
                </a:lnTo>
                <a:lnTo>
                  <a:pt x="5014" y="289"/>
                </a:lnTo>
                <a:lnTo>
                  <a:pt x="5016" y="305"/>
                </a:lnTo>
                <a:lnTo>
                  <a:pt x="5019" y="321"/>
                </a:lnTo>
                <a:lnTo>
                  <a:pt x="5020" y="336"/>
                </a:lnTo>
                <a:lnTo>
                  <a:pt x="4764" y="336"/>
                </a:lnTo>
                <a:lnTo>
                  <a:pt x="4762" y="325"/>
                </a:lnTo>
                <a:lnTo>
                  <a:pt x="4760" y="316"/>
                </a:lnTo>
                <a:lnTo>
                  <a:pt x="4756" y="307"/>
                </a:lnTo>
                <a:lnTo>
                  <a:pt x="4753" y="299"/>
                </a:lnTo>
                <a:lnTo>
                  <a:pt x="4749" y="291"/>
                </a:lnTo>
                <a:lnTo>
                  <a:pt x="4743" y="284"/>
                </a:lnTo>
                <a:lnTo>
                  <a:pt x="4737" y="276"/>
                </a:lnTo>
                <a:lnTo>
                  <a:pt x="4734" y="272"/>
                </a:lnTo>
                <a:lnTo>
                  <a:pt x="4731" y="269"/>
                </a:lnTo>
                <a:lnTo>
                  <a:pt x="4723" y="262"/>
                </a:lnTo>
                <a:lnTo>
                  <a:pt x="4715" y="257"/>
                </a:lnTo>
                <a:lnTo>
                  <a:pt x="4707" y="251"/>
                </a:lnTo>
                <a:lnTo>
                  <a:pt x="4698" y="247"/>
                </a:lnTo>
                <a:lnTo>
                  <a:pt x="4688" y="242"/>
                </a:lnTo>
                <a:lnTo>
                  <a:pt x="4678" y="240"/>
                </a:lnTo>
                <a:lnTo>
                  <a:pt x="4667" y="238"/>
                </a:lnTo>
                <a:lnTo>
                  <a:pt x="4656" y="236"/>
                </a:lnTo>
                <a:lnTo>
                  <a:pt x="4644" y="236"/>
                </a:lnTo>
                <a:lnTo>
                  <a:pt x="4629" y="236"/>
                </a:lnTo>
                <a:lnTo>
                  <a:pt x="4616" y="238"/>
                </a:lnTo>
                <a:lnTo>
                  <a:pt x="4602" y="241"/>
                </a:lnTo>
                <a:lnTo>
                  <a:pt x="4597" y="243"/>
                </a:lnTo>
                <a:lnTo>
                  <a:pt x="4590" y="246"/>
                </a:lnTo>
                <a:lnTo>
                  <a:pt x="4579" y="250"/>
                </a:lnTo>
                <a:lnTo>
                  <a:pt x="4575" y="253"/>
                </a:lnTo>
                <a:lnTo>
                  <a:pt x="4569" y="257"/>
                </a:lnTo>
                <a:lnTo>
                  <a:pt x="4565" y="260"/>
                </a:lnTo>
                <a:lnTo>
                  <a:pt x="4560" y="265"/>
                </a:lnTo>
                <a:lnTo>
                  <a:pt x="4552" y="272"/>
                </a:lnTo>
                <a:lnTo>
                  <a:pt x="4544" y="281"/>
                </a:lnTo>
                <a:lnTo>
                  <a:pt x="4539" y="291"/>
                </a:lnTo>
                <a:lnTo>
                  <a:pt x="4533" y="301"/>
                </a:lnTo>
                <a:lnTo>
                  <a:pt x="4529" y="312"/>
                </a:lnTo>
                <a:lnTo>
                  <a:pt x="4527" y="319"/>
                </a:lnTo>
                <a:lnTo>
                  <a:pt x="4525" y="325"/>
                </a:lnTo>
                <a:lnTo>
                  <a:pt x="4523" y="337"/>
                </a:lnTo>
                <a:lnTo>
                  <a:pt x="4521" y="350"/>
                </a:lnTo>
                <a:lnTo>
                  <a:pt x="4521" y="364"/>
                </a:lnTo>
                <a:close/>
                <a:moveTo>
                  <a:pt x="3716" y="20"/>
                </a:moveTo>
                <a:lnTo>
                  <a:pt x="3972" y="20"/>
                </a:lnTo>
                <a:lnTo>
                  <a:pt x="3972" y="556"/>
                </a:lnTo>
                <a:lnTo>
                  <a:pt x="3972" y="1093"/>
                </a:lnTo>
                <a:lnTo>
                  <a:pt x="3716" y="1093"/>
                </a:lnTo>
                <a:lnTo>
                  <a:pt x="3716" y="556"/>
                </a:lnTo>
                <a:lnTo>
                  <a:pt x="3716" y="2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0201" tIns="40100" rIns="80201" bIns="40100" numCol="1" anchor="t" anchorCtr="0" compatLnSpc="1">
            <a:prstTxWarp prst="textNoShape">
              <a:avLst/>
            </a:prstTxWarp>
          </a:bodyPr>
          <a:lstStyle/>
          <a:p>
            <a:endParaRPr lang="en-US" sz="1579"/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736564" y="1160934"/>
            <a:ext cx="9220273" cy="5082165"/>
          </a:xfrm>
        </p:spPr>
        <p:txBody>
          <a:bodyPr anchor="ctr" anchorCtr="0"/>
          <a:lstStyle>
            <a:lvl1pPr algn="l">
              <a:lnSpc>
                <a:spcPct val="80000"/>
              </a:lnSpc>
              <a:defRPr sz="7017" spc="-263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62736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5EED23D-39A9-41B9-A066-A142523697E9}"/>
              </a:ext>
            </a:extLst>
          </p:cNvPr>
          <p:cNvGraphicFramePr>
            <a:graphicFrameLocks noChangeAspect="1"/>
          </p:cNvGraphicFramePr>
          <p:nvPr>
            <p:custDataLst>
              <p:tags r:id="rId71"/>
            </p:custDataLst>
            <p:extLst>
              <p:ext uri="{D42A27DB-BD31-4B8C-83A1-F6EECF244321}">
                <p14:modId xmlns:p14="http://schemas.microsoft.com/office/powerpoint/2010/main" val="2744577359"/>
              </p:ext>
            </p:extLst>
          </p:nvPr>
        </p:nvGraphicFramePr>
        <p:xfrm>
          <a:off x="1393" y="1751"/>
          <a:ext cx="1393" cy="1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2" imgW="347" imgH="348" progId="TCLayout.ActiveDocument.1">
                  <p:embed/>
                </p:oleObj>
              </mc:Choice>
              <mc:Fallback>
                <p:oleObj name="think-cell Slide" r:id="rId72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5EED23D-39A9-41B9-A066-A142523697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393" y="1751"/>
                        <a:ext cx="1393" cy="17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5171" y="446419"/>
            <a:ext cx="9221666" cy="1190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5171" y="1874957"/>
            <a:ext cx="9223058" cy="48440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682595" y="7116433"/>
            <a:ext cx="1074668" cy="1593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614" b="0" cap="all" spc="88" baseline="0">
                <a:solidFill>
                  <a:schemeClr val="tx1"/>
                </a:solidFill>
              </a:defRPr>
            </a:lvl1pPr>
          </a:lstStyle>
          <a:p>
            <a:fld id="{6CC98A56-8E2C-45CF-ADAF-7E5A52E121A6}" type="datetime1">
              <a:rPr lang="fi-FI" smtClean="0"/>
              <a:t>22.5.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57262" y="7116433"/>
            <a:ext cx="7199575" cy="1593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614" b="0" cap="all" spc="88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ASSIFICATION  /  PRESENTATION  / 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56836" y="7116433"/>
            <a:ext cx="442774" cy="1593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614" b="0" cap="all" spc="88" baseline="0">
                <a:solidFill>
                  <a:schemeClr val="tx1"/>
                </a:solidFill>
              </a:defRPr>
            </a:lvl1pPr>
          </a:lstStyle>
          <a:p>
            <a:fld id="{9B8CDF1A-3CDE-4195-AF23-CDCF2878DEB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(c)" hidden="1"/>
          <p:cNvSpPr txBox="1"/>
          <p:nvPr/>
        </p:nvSpPr>
        <p:spPr>
          <a:xfrm>
            <a:off x="10506375" y="7600118"/>
            <a:ext cx="181140" cy="269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fi-FI" sz="175">
                <a:solidFill>
                  <a:schemeClr val="bg1"/>
                </a:solidFill>
                <a:latin typeface="+mn-lt"/>
              </a:rPr>
              <a:t>©grow. for</a:t>
            </a:r>
            <a:r>
              <a:rPr lang="fi-FI" sz="175" baseline="0">
                <a:solidFill>
                  <a:schemeClr val="bg1"/>
                </a:solidFill>
                <a:latin typeface="+mn-lt"/>
              </a:rPr>
              <a:t> kemira</a:t>
            </a:r>
            <a:endParaRPr lang="en-GB" sz="175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2" name="(logo)" descr="Z:\GRW (grow)\logot\copyright_grow.png" hidden="1"/>
          <p:cNvPicPr>
            <a:picLocks noChangeAspect="1" noChangeArrowheads="1"/>
          </p:cNvPicPr>
          <p:nvPr/>
        </p:nvPicPr>
        <p:blipFill>
          <a:blip r:embed="rId7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39700"/>
            <a:ext cx="52854" cy="19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08718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5" r:id="rId2"/>
    <p:sldLayoutId id="2147483676" r:id="rId3"/>
    <p:sldLayoutId id="2147483650" r:id="rId4"/>
    <p:sldLayoutId id="2147483658" r:id="rId5"/>
    <p:sldLayoutId id="2147483651" r:id="rId6"/>
    <p:sldLayoutId id="2147483661" r:id="rId7"/>
    <p:sldLayoutId id="2147483662" r:id="rId8"/>
    <p:sldLayoutId id="2147483664" r:id="rId9"/>
    <p:sldLayoutId id="2147483663" r:id="rId10"/>
    <p:sldLayoutId id="2147488199" r:id="rId11"/>
    <p:sldLayoutId id="2147488164" r:id="rId12"/>
    <p:sldLayoutId id="2147488193" r:id="rId13"/>
    <p:sldLayoutId id="2147488178" r:id="rId14"/>
    <p:sldLayoutId id="2147488186" r:id="rId15"/>
    <p:sldLayoutId id="2147488184" r:id="rId16"/>
    <p:sldLayoutId id="2147483652" r:id="rId17"/>
    <p:sldLayoutId id="2147483659" r:id="rId18"/>
    <p:sldLayoutId id="2147483653" r:id="rId19"/>
    <p:sldLayoutId id="2147483660" r:id="rId20"/>
    <p:sldLayoutId id="2147483668" r:id="rId21"/>
    <p:sldLayoutId id="2147488179" r:id="rId22"/>
    <p:sldLayoutId id="2147488196" r:id="rId23"/>
    <p:sldLayoutId id="2147483669" r:id="rId24"/>
    <p:sldLayoutId id="2147488180" r:id="rId25"/>
    <p:sldLayoutId id="2147488163" r:id="rId26"/>
    <p:sldLayoutId id="2147488181" r:id="rId27"/>
    <p:sldLayoutId id="2147483670" r:id="rId28"/>
    <p:sldLayoutId id="2147483671" r:id="rId29"/>
    <p:sldLayoutId id="2147488167" r:id="rId30"/>
    <p:sldLayoutId id="2147488197" r:id="rId31"/>
    <p:sldLayoutId id="2147488190" r:id="rId32"/>
    <p:sldLayoutId id="2147488191" r:id="rId33"/>
    <p:sldLayoutId id="2147488192" r:id="rId34"/>
    <p:sldLayoutId id="2147483666" r:id="rId35"/>
    <p:sldLayoutId id="2147483667" r:id="rId36"/>
    <p:sldLayoutId id="2147483729" r:id="rId37"/>
    <p:sldLayoutId id="2147483654" r:id="rId38"/>
    <p:sldLayoutId id="2147483655" r:id="rId39"/>
    <p:sldLayoutId id="2147483726" r:id="rId40"/>
    <p:sldLayoutId id="2147488174" r:id="rId41"/>
    <p:sldLayoutId id="2147488171" r:id="rId42"/>
    <p:sldLayoutId id="2147488187" r:id="rId43"/>
    <p:sldLayoutId id="2147488170" r:id="rId44"/>
    <p:sldLayoutId id="2147488188" r:id="rId45"/>
    <p:sldLayoutId id="2147488198" r:id="rId46"/>
    <p:sldLayoutId id="2147488189" r:id="rId47"/>
    <p:sldLayoutId id="2147488169" r:id="rId48"/>
    <p:sldLayoutId id="2147488168" r:id="rId49"/>
    <p:sldLayoutId id="2147483665" r:id="rId50"/>
    <p:sldLayoutId id="2147488172" r:id="rId51"/>
    <p:sldLayoutId id="2147488173" r:id="rId52"/>
    <p:sldLayoutId id="2147488194" r:id="rId53"/>
    <p:sldLayoutId id="2147488166" r:id="rId54"/>
    <p:sldLayoutId id="2147488165" r:id="rId55"/>
    <p:sldLayoutId id="2147488176" r:id="rId56"/>
    <p:sldLayoutId id="2147488177" r:id="rId57"/>
    <p:sldLayoutId id="2147488175" r:id="rId58"/>
    <p:sldLayoutId id="2147488183" r:id="rId59"/>
    <p:sldLayoutId id="2147488200" r:id="rId60"/>
    <p:sldLayoutId id="2147488201" r:id="rId61"/>
    <p:sldLayoutId id="2147488202" r:id="rId62"/>
    <p:sldLayoutId id="2147488203" r:id="rId63"/>
    <p:sldLayoutId id="2147483673" r:id="rId64"/>
    <p:sldLayoutId id="2147483674" r:id="rId65"/>
    <p:sldLayoutId id="2147483728" r:id="rId66"/>
    <p:sldLayoutId id="2147483727" r:id="rId67"/>
    <p:sldLayoutId id="2147483795" r:id="rId68"/>
    <p:sldLayoutId id="2147488195" r:id="rId69"/>
  </p:sldLayoutIdLst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hf hdr="0"/>
  <p:txStyles>
    <p:titleStyle>
      <a:lvl1pPr algn="l" defTabSz="802020" rtl="0" eaLnBrk="1" latinLnBrk="0" hangingPunct="1">
        <a:lnSpc>
          <a:spcPct val="90000"/>
        </a:lnSpc>
        <a:spcBef>
          <a:spcPct val="0"/>
        </a:spcBef>
        <a:buNone/>
        <a:defRPr sz="3508" b="1" kern="1200" spc="-88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802020" rtl="0" eaLnBrk="1" latinLnBrk="0" hangingPunct="1">
        <a:lnSpc>
          <a:spcPct val="90000"/>
        </a:lnSpc>
        <a:spcBef>
          <a:spcPts val="877"/>
        </a:spcBef>
        <a:buFontTx/>
        <a:buNone/>
        <a:defRPr sz="1754" kern="1200">
          <a:solidFill>
            <a:schemeClr val="tx1"/>
          </a:solidFill>
          <a:latin typeface="+mn-lt"/>
          <a:ea typeface="+mn-ea"/>
          <a:cs typeface="+mn-cs"/>
        </a:defRPr>
      </a:lvl1pPr>
      <a:lvl2pPr marL="233923" indent="-233923" algn="l" defTabSz="802020" rtl="0" eaLnBrk="1" latinLnBrk="0" hangingPunct="1">
        <a:lnSpc>
          <a:spcPct val="90000"/>
        </a:lnSpc>
        <a:spcBef>
          <a:spcPts val="877"/>
        </a:spcBef>
        <a:buFont typeface="Arial" panose="020B0604020202020204" pitchFamily="34" charset="0"/>
        <a:buChar char="•"/>
        <a:defRPr sz="1754" kern="1200">
          <a:solidFill>
            <a:schemeClr val="tx1"/>
          </a:solidFill>
          <a:latin typeface="+mn-lt"/>
          <a:ea typeface="+mn-ea"/>
          <a:cs typeface="+mn-cs"/>
        </a:defRPr>
      </a:lvl2pPr>
      <a:lvl3pPr marL="473415" indent="-239492" algn="l" defTabSz="802020" rtl="0" eaLnBrk="1" latinLnBrk="0" hangingPunct="1">
        <a:lnSpc>
          <a:spcPct val="90000"/>
        </a:lnSpc>
        <a:spcBef>
          <a:spcPts val="877"/>
        </a:spcBef>
        <a:buFont typeface="Arial" panose="020B0604020202020204" pitchFamily="34" charset="0"/>
        <a:buChar char="–"/>
        <a:tabLst>
          <a:tab pos="473415" algn="l"/>
        </a:tabLst>
        <a:defRPr sz="1579" kern="1200">
          <a:solidFill>
            <a:schemeClr val="tx1"/>
          </a:solidFill>
          <a:latin typeface="+mn-lt"/>
          <a:ea typeface="+mn-ea"/>
          <a:cs typeface="+mn-cs"/>
        </a:defRPr>
      </a:lvl3pPr>
      <a:lvl4pPr marL="707337" indent="-233923" algn="l" defTabSz="802020" rtl="0" eaLnBrk="1" latinLnBrk="0" hangingPunct="1">
        <a:lnSpc>
          <a:spcPct val="90000"/>
        </a:lnSpc>
        <a:spcBef>
          <a:spcPts val="877"/>
        </a:spcBef>
        <a:buFont typeface="Arial" panose="020B0604020202020204" pitchFamily="34" charset="0"/>
        <a:buChar char="•"/>
        <a:defRPr sz="1403" kern="1200">
          <a:solidFill>
            <a:schemeClr val="tx1"/>
          </a:solidFill>
          <a:latin typeface="+mn-lt"/>
          <a:ea typeface="+mn-ea"/>
          <a:cs typeface="+mn-cs"/>
        </a:defRPr>
      </a:lvl4pPr>
      <a:lvl5pPr marL="939868" indent="-232531" algn="l" defTabSz="802020" rtl="0" eaLnBrk="1" latinLnBrk="0" hangingPunct="1">
        <a:lnSpc>
          <a:spcPct val="90000"/>
        </a:lnSpc>
        <a:spcBef>
          <a:spcPts val="877"/>
        </a:spcBef>
        <a:buFont typeface="Arial" panose="020B0604020202020204" pitchFamily="34" charset="0"/>
        <a:buChar char="–"/>
        <a:defRPr sz="1053" kern="1200">
          <a:solidFill>
            <a:schemeClr val="tx1"/>
          </a:solidFill>
          <a:latin typeface="+mn-lt"/>
          <a:ea typeface="+mn-ea"/>
          <a:cs typeface="+mn-cs"/>
        </a:defRPr>
      </a:lvl5pPr>
      <a:lvl6pPr marL="1180752" indent="-240885" algn="l" defTabSz="802020" rtl="0" eaLnBrk="1" latinLnBrk="0" hangingPunct="1">
        <a:lnSpc>
          <a:spcPct val="90000"/>
        </a:lnSpc>
        <a:spcBef>
          <a:spcPts val="877"/>
        </a:spcBef>
        <a:buFont typeface="Arial" panose="020B0604020202020204" pitchFamily="34" charset="0"/>
        <a:buChar char="–"/>
        <a:defRPr sz="1053" kern="1200">
          <a:solidFill>
            <a:schemeClr val="tx1"/>
          </a:solidFill>
          <a:latin typeface="+mn-lt"/>
          <a:ea typeface="+mn-ea"/>
          <a:cs typeface="+mn-cs"/>
        </a:defRPr>
      </a:lvl6pPr>
      <a:lvl7pPr marL="1414675" indent="-233923" algn="l" defTabSz="802020" rtl="0" eaLnBrk="1" latinLnBrk="0" hangingPunct="1">
        <a:lnSpc>
          <a:spcPct val="90000"/>
        </a:lnSpc>
        <a:spcBef>
          <a:spcPts val="877"/>
        </a:spcBef>
        <a:buFont typeface="Arial" panose="020B0604020202020204" pitchFamily="34" charset="0"/>
        <a:buChar char="–"/>
        <a:defRPr sz="1053" kern="1200">
          <a:solidFill>
            <a:schemeClr val="tx1"/>
          </a:solidFill>
          <a:latin typeface="+mn-lt"/>
          <a:ea typeface="+mn-ea"/>
          <a:cs typeface="+mn-cs"/>
        </a:defRPr>
      </a:lvl7pPr>
      <a:lvl8pPr marL="1647205" indent="-232531" algn="l" defTabSz="802020" rtl="0" eaLnBrk="1" latinLnBrk="0" hangingPunct="1">
        <a:lnSpc>
          <a:spcPct val="90000"/>
        </a:lnSpc>
        <a:spcBef>
          <a:spcPts val="877"/>
        </a:spcBef>
        <a:buFont typeface="Arial" panose="020B0604020202020204" pitchFamily="34" charset="0"/>
        <a:buChar char="–"/>
        <a:defRPr sz="1053" kern="1200">
          <a:solidFill>
            <a:schemeClr val="tx1"/>
          </a:solidFill>
          <a:latin typeface="+mn-lt"/>
          <a:ea typeface="+mn-ea"/>
          <a:cs typeface="+mn-cs"/>
        </a:defRPr>
      </a:lvl8pPr>
      <a:lvl9pPr marL="1888089" indent="-240885" algn="l" defTabSz="802020" rtl="0" eaLnBrk="1" latinLnBrk="0" hangingPunct="1">
        <a:lnSpc>
          <a:spcPct val="90000"/>
        </a:lnSpc>
        <a:spcBef>
          <a:spcPts val="877"/>
        </a:spcBef>
        <a:buFont typeface="Arial" panose="020B0604020202020204" pitchFamily="34" charset="0"/>
        <a:buChar char="–"/>
        <a:defRPr sz="10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802020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1pPr>
      <a:lvl2pPr marL="401010" algn="l" defTabSz="802020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2pPr>
      <a:lvl3pPr marL="802020" algn="l" defTabSz="802020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3pPr>
      <a:lvl4pPr marL="1203030" algn="l" defTabSz="802020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4pPr>
      <a:lvl5pPr marL="1604040" algn="l" defTabSz="802020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5pPr>
      <a:lvl6pPr marL="2005051" algn="l" defTabSz="802020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6pPr>
      <a:lvl7pPr marL="2406061" algn="l" defTabSz="802020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7pPr>
      <a:lvl8pPr marL="2807071" algn="l" defTabSz="802020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8pPr>
      <a:lvl9pPr marL="3208081" algn="l" defTabSz="802020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9396912" y="283530"/>
            <a:ext cx="559888" cy="138695"/>
          </a:xfrm>
          <a:prstGeom prst="rect">
            <a:avLst/>
          </a:prstGeom>
        </p:spPr>
        <p:txBody>
          <a:bodyPr vert="horz" wrap="square" lIns="0" tIns="10100" rIns="0" bIns="0" rtlCol="0">
            <a:spAutoFit/>
          </a:bodyPr>
          <a:lstStyle/>
          <a:p>
            <a:pPr marL="10101">
              <a:spcBef>
                <a:spcPts val="80"/>
              </a:spcBef>
            </a:pPr>
            <a:r>
              <a:rPr lang="fi-FI" sz="835" b="1" dirty="0">
                <a:solidFill>
                  <a:srgbClr val="312C2C"/>
                </a:solidFill>
                <a:latin typeface="Akkurat LL" panose="020B0504020101010102" pitchFamily="34" charset="-126"/>
                <a:ea typeface="Akkurat LL" panose="020B0504020101010102" pitchFamily="34" charset="-126"/>
                <a:cs typeface="Akkurat LL" panose="020B0504020101010102" pitchFamily="34" charset="-126"/>
              </a:rPr>
              <a:t>PUBLIC</a:t>
            </a:r>
            <a:endParaRPr lang="fi-FI" sz="835" b="1" dirty="0">
              <a:latin typeface="Akkurat LL" panose="020B0504020101010102" pitchFamily="34" charset="-126"/>
              <a:ea typeface="Akkurat LL" panose="020B0504020101010102" pitchFamily="34" charset="-126"/>
              <a:cs typeface="Akkurat LL" panose="020B0504020101010102" pitchFamily="34" charset="-126"/>
            </a:endParaRPr>
          </a:p>
        </p:txBody>
      </p:sp>
      <p:sp>
        <p:nvSpPr>
          <p:cNvPr id="16" name="object 3">
            <a:extLst>
              <a:ext uri="{FF2B5EF4-FFF2-40B4-BE49-F238E27FC236}">
                <a16:creationId xmlns:a16="http://schemas.microsoft.com/office/drawing/2014/main" id="{474A54AE-33B4-47CC-ADD2-470EC2C092F8}"/>
              </a:ext>
            </a:extLst>
          </p:cNvPr>
          <p:cNvSpPr txBox="1"/>
          <p:nvPr/>
        </p:nvSpPr>
        <p:spPr>
          <a:xfrm>
            <a:off x="3851515" y="670487"/>
            <a:ext cx="3333270" cy="466972"/>
          </a:xfrm>
          <a:prstGeom prst="rect">
            <a:avLst/>
          </a:prstGeom>
        </p:spPr>
        <p:txBody>
          <a:bodyPr vert="horz" wrap="square" lIns="0" tIns="34847" rIns="0" bIns="0" rtlCol="0">
            <a:spAutoFit/>
          </a:bodyPr>
          <a:lstStyle/>
          <a:p>
            <a:pPr algn="ctr"/>
            <a:r>
              <a:rPr lang="en-GB" sz="1403" dirty="0">
                <a:latin typeface="Akkurat LL" panose="020B0504020101010102" pitchFamily="34" charset="-126"/>
                <a:ea typeface="Akkurat LL" panose="020B0504020101010102" pitchFamily="34" charset="-126"/>
                <a:cs typeface="Akkurat LL" panose="020B0504020101010102" pitchFamily="34" charset="-126"/>
              </a:rPr>
              <a:t>KEMIRA </a:t>
            </a:r>
            <a:r>
              <a:rPr lang="en-GB" sz="1403" dirty="0">
                <a:solidFill>
                  <a:srgbClr val="000000"/>
                </a:solidFill>
                <a:latin typeface="Akkurat LL" panose="020B0504020101010102" pitchFamily="34" charset="-126"/>
                <a:ea typeface="Akkurat LL" panose="020B0504020101010102" pitchFamily="34" charset="-126"/>
                <a:cs typeface="Akkurat LL" panose="020B0504020101010102" pitchFamily="34" charset="-126"/>
              </a:rPr>
              <a:t>SUSTAINABILITY </a:t>
            </a:r>
          </a:p>
          <a:p>
            <a:pPr algn="ctr"/>
            <a:r>
              <a:rPr lang="en-GB" sz="1403" dirty="0">
                <a:latin typeface="Akkurat LL" panose="020B0504020101010102" pitchFamily="34" charset="-126"/>
                <a:ea typeface="Akkurat LL" panose="020B0504020101010102" pitchFamily="34" charset="-126"/>
                <a:cs typeface="Akkurat LL" panose="020B0504020101010102" pitchFamily="34" charset="-126"/>
              </a:rPr>
              <a:t>POLICY COMMITMENT</a:t>
            </a:r>
            <a:endParaRPr lang="fi-FI" sz="1403" dirty="0">
              <a:latin typeface="Akkurat LL" panose="020B0504020101010102" pitchFamily="34" charset="-126"/>
              <a:ea typeface="Akkurat LL" panose="020B0504020101010102" pitchFamily="34" charset="-126"/>
              <a:cs typeface="Akkurat LL" panose="020B0504020101010102" pitchFamily="34" charset="-126"/>
            </a:endParaRPr>
          </a:p>
        </p:txBody>
      </p:sp>
      <p:sp>
        <p:nvSpPr>
          <p:cNvPr id="17" name="object 5">
            <a:extLst>
              <a:ext uri="{FF2B5EF4-FFF2-40B4-BE49-F238E27FC236}">
                <a16:creationId xmlns:a16="http://schemas.microsoft.com/office/drawing/2014/main" id="{C3D7784D-E05E-4A88-9E67-92EDC04934CA}"/>
              </a:ext>
            </a:extLst>
          </p:cNvPr>
          <p:cNvSpPr txBox="1"/>
          <p:nvPr/>
        </p:nvSpPr>
        <p:spPr>
          <a:xfrm>
            <a:off x="1294913" y="1455282"/>
            <a:ext cx="3543788" cy="3503194"/>
          </a:xfrm>
          <a:prstGeom prst="rect">
            <a:avLst/>
          </a:prstGeom>
        </p:spPr>
        <p:txBody>
          <a:bodyPr vert="horz" wrap="square" lIns="0" tIns="55554" rIns="0" bIns="0" rtlCol="0">
            <a:spAutoFit/>
          </a:bodyPr>
          <a:lstStyle/>
          <a:p>
            <a:pPr marL="19697" algn="just"/>
            <a:r>
              <a:rPr lang="en-US" sz="800" b="1" dirty="0">
                <a:solidFill>
                  <a:srgbClr val="312C2C"/>
                </a:solidFill>
                <a:latin typeface="Arial" panose="020B0604020202020204" pitchFamily="34" charset="0"/>
                <a:ea typeface="Akkurat LL" panose="020B0504020101010102" pitchFamily="34" charset="-126"/>
                <a:cs typeface="Arial" panose="020B0604020202020204" pitchFamily="34" charset="0"/>
              </a:rPr>
              <a:t>We</a:t>
            </a:r>
            <a:r>
              <a:rPr lang="en-US" sz="800" b="1" spc="-12" dirty="0">
                <a:solidFill>
                  <a:srgbClr val="312C2C"/>
                </a:solidFill>
                <a:latin typeface="Arial" panose="020B0604020202020204" pitchFamily="34" charset="0"/>
                <a:ea typeface="Akkurat LL" panose="020B0504020101010102" pitchFamily="34" charset="-126"/>
                <a:cs typeface="Arial" panose="020B0604020202020204" pitchFamily="34" charset="0"/>
              </a:rPr>
              <a:t> a</a:t>
            </a:r>
            <a:r>
              <a:rPr lang="en-US" sz="800" b="1" dirty="0">
                <a:solidFill>
                  <a:srgbClr val="312C2C"/>
                </a:solidFill>
                <a:latin typeface="Arial" panose="020B0604020202020204" pitchFamily="34" charset="0"/>
                <a:ea typeface="Akkurat LL" panose="020B0504020101010102" pitchFamily="34" charset="-126"/>
                <a:cs typeface="Arial" panose="020B0604020202020204" pitchFamily="34" charset="0"/>
              </a:rPr>
              <a:t>re</a:t>
            </a:r>
            <a:r>
              <a:rPr lang="en-US" sz="800" b="1" spc="-12" dirty="0">
                <a:solidFill>
                  <a:srgbClr val="312C2C"/>
                </a:solidFill>
                <a:latin typeface="Arial" panose="020B0604020202020204" pitchFamily="34" charset="0"/>
                <a:ea typeface="Akkurat LL" panose="020B0504020101010102" pitchFamily="34" charset="-126"/>
                <a:cs typeface="Arial" panose="020B0604020202020204" pitchFamily="34" charset="0"/>
              </a:rPr>
              <a:t> c</a:t>
            </a:r>
            <a:r>
              <a:rPr lang="en-US" sz="800" b="1" dirty="0">
                <a:solidFill>
                  <a:srgbClr val="312C2C"/>
                </a:solidFill>
                <a:latin typeface="Arial" panose="020B0604020202020204" pitchFamily="34" charset="0"/>
                <a:ea typeface="Akkurat LL" panose="020B0504020101010102" pitchFamily="34" charset="-126"/>
                <a:cs typeface="Arial" panose="020B0604020202020204" pitchFamily="34" charset="0"/>
              </a:rPr>
              <a:t>ommitted</a:t>
            </a:r>
            <a:r>
              <a:rPr lang="en-US" sz="800" b="1" spc="-12" dirty="0">
                <a:solidFill>
                  <a:srgbClr val="312C2C"/>
                </a:solidFill>
                <a:latin typeface="Arial" panose="020B0604020202020204" pitchFamily="34" charset="0"/>
                <a:ea typeface="Akkurat LL" panose="020B0504020101010102" pitchFamily="34" charset="-126"/>
                <a:cs typeface="Arial" panose="020B0604020202020204" pitchFamily="34" charset="0"/>
              </a:rPr>
              <a:t> t</a:t>
            </a:r>
            <a:r>
              <a:rPr lang="en-US" sz="800" b="1" dirty="0">
                <a:solidFill>
                  <a:srgbClr val="312C2C"/>
                </a:solidFill>
                <a:latin typeface="Arial" panose="020B0604020202020204" pitchFamily="34" charset="0"/>
                <a:ea typeface="Akkurat LL" panose="020B0504020101010102" pitchFamily="34" charset="-126"/>
                <a:cs typeface="Arial" panose="020B0604020202020204" pitchFamily="34" charset="0"/>
              </a:rPr>
              <a:t>o</a:t>
            </a:r>
            <a:r>
              <a:rPr lang="fi-FI" sz="800" b="1" dirty="0">
                <a:solidFill>
                  <a:srgbClr val="312C2C"/>
                </a:solidFill>
                <a:latin typeface="Arial" panose="020B0604020202020204" pitchFamily="34" charset="0"/>
                <a:ea typeface="Akkurat LL" panose="020B0504020101010102" pitchFamily="34" charset="-126"/>
                <a:cs typeface="Arial" panose="020B0604020202020204" pitchFamily="34" charset="0"/>
              </a:rPr>
              <a:t>:</a:t>
            </a:r>
            <a:endParaRPr sz="800" b="1" dirty="0">
              <a:latin typeface="Arial" panose="020B0604020202020204" pitchFamily="34" charset="0"/>
              <a:ea typeface="Akkurat LL" panose="020B0504020101010102" pitchFamily="34" charset="-126"/>
              <a:cs typeface="Arial" panose="020B0604020202020204" pitchFamily="34" charset="0"/>
            </a:endParaRPr>
          </a:p>
          <a:p>
            <a:pPr marL="136364" indent="-136364" algn="just">
              <a:buFont typeface="Arial" panose="020B0604020202020204" pitchFamily="34" charset="0"/>
              <a:buChar char="•"/>
            </a:pPr>
            <a:endParaRPr lang="en-GB" sz="8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136364" indent="-136364" algn="just">
              <a:buFont typeface="Arial" panose="020B0604020202020204" pitchFamily="34" charset="0"/>
              <a:buChar char="•"/>
            </a:pPr>
            <a:r>
              <a:rPr lang="en-GB" sz="8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nsuring healthy, safe and responsible working conditions for everyone working for or with Kemira</a:t>
            </a:r>
            <a:endParaRPr lang="en-US" sz="8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136364" indent="-136364" algn="just">
              <a:buFont typeface="Arial" panose="020B0604020202020204" pitchFamily="34" charset="0"/>
              <a:buChar char="•"/>
            </a:pPr>
            <a:r>
              <a:rPr lang="en-GB" sz="8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reventing </a:t>
            </a:r>
            <a:r>
              <a:rPr lang="en-GB" sz="800" dirty="0">
                <a:latin typeface="Arial" panose="020B0604020202020204" pitchFamily="34" charset="0"/>
                <a:ea typeface="Times New Roman" panose="02020603050405020304" pitchFamily="18" charset="0"/>
              </a:rPr>
              <a:t>incidents and reducing hazardous conditions and activities </a:t>
            </a:r>
            <a:endParaRPr lang="en-US" sz="8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136364" indent="-136364" algn="just">
              <a:buFont typeface="Arial" panose="020B0604020202020204" pitchFamily="34" charset="0"/>
              <a:buChar char="•"/>
            </a:pPr>
            <a:r>
              <a:rPr lang="en-GB" sz="800" dirty="0">
                <a:latin typeface="Arial" panose="020B0604020202020204" pitchFamily="34" charset="0"/>
                <a:ea typeface="Times New Roman" panose="02020603050405020304" pitchFamily="18" charset="0"/>
              </a:rPr>
              <a:t>Fostering, cultivating and preserving psychological safety through a culture of diversity, equity and inclusion</a:t>
            </a:r>
            <a:endParaRPr lang="en-US" sz="8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136364" indent="-136364" algn="just">
              <a:buFont typeface="Arial" panose="020B0604020202020204" pitchFamily="34" charset="0"/>
              <a:buChar char="•"/>
            </a:pPr>
            <a:r>
              <a:rPr lang="en-GB" sz="800" dirty="0">
                <a:latin typeface="Arial" panose="020B0604020202020204" pitchFamily="34" charset="0"/>
                <a:ea typeface="Times New Roman" panose="02020603050405020304" pitchFamily="18" charset="0"/>
              </a:rPr>
              <a:t>Communicating with our key interested parties and developing the competence and improving awareness of our employees and contractors </a:t>
            </a:r>
            <a:endParaRPr lang="en-US" sz="8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136364" indent="-136364" algn="just">
              <a:buFont typeface="Arial" panose="020B0604020202020204" pitchFamily="34" charset="0"/>
              <a:buChar char="•"/>
            </a:pPr>
            <a:r>
              <a:rPr lang="en-GB" sz="800" dirty="0">
                <a:latin typeface="Arial" panose="020B0604020202020204" pitchFamily="34" charset="0"/>
                <a:ea typeface="Times New Roman" panose="02020603050405020304" pitchFamily="18" charset="0"/>
              </a:rPr>
              <a:t>Acting responsibly in society and respecting human rights in all our value chain</a:t>
            </a:r>
            <a:endParaRPr lang="en-US" sz="8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136364" indent="-136364" algn="just">
              <a:buFont typeface="Arial" panose="020B0604020202020204" pitchFamily="34" charset="0"/>
              <a:buChar char="•"/>
            </a:pPr>
            <a:r>
              <a:rPr lang="en-GB" sz="800" dirty="0">
                <a:latin typeface="Arial" panose="020B0604020202020204" pitchFamily="34" charset="0"/>
                <a:ea typeface="Times New Roman" panose="02020603050405020304" pitchFamily="18" charset="0"/>
              </a:rPr>
              <a:t>Satisfying our customers’ needs and meeting the expectations of our external stakeholders</a:t>
            </a:r>
            <a:endParaRPr lang="en-US" sz="8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136364" indent="-136364" algn="just">
              <a:buFont typeface="Arial" panose="020B0604020202020204" pitchFamily="34" charset="0"/>
              <a:buChar char="•"/>
              <a:tabLst>
                <a:tab pos="363636" algn="l"/>
              </a:tabLst>
            </a:pPr>
            <a:r>
              <a:rPr lang="en-GB" sz="800" dirty="0">
                <a:latin typeface="Arial" panose="020B0604020202020204" pitchFamily="34" charset="0"/>
                <a:ea typeface="Times New Roman" panose="02020603050405020304" pitchFamily="18" charset="0"/>
              </a:rPr>
              <a:t>Ensuring that we have a portfolio of products and services that will enable the profitable business transition towards a sustainable and climate-neutral economy</a:t>
            </a:r>
            <a:endParaRPr lang="en-US" sz="8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136364" indent="-136364" algn="just">
              <a:buFont typeface="Arial" panose="020B0604020202020204" pitchFamily="34" charset="0"/>
              <a:buChar char="•"/>
            </a:pPr>
            <a:endParaRPr lang="en-GB" sz="800" dirty="0">
              <a:latin typeface="Akkurat LL" panose="020B0504020101010102" pitchFamily="34" charset="-126"/>
              <a:ea typeface="Akkurat LL" panose="020B0504020101010102" pitchFamily="34" charset="-126"/>
              <a:cs typeface="Akkurat LL" panose="020B0504020101010102" pitchFamily="34" charset="-126"/>
            </a:endParaRPr>
          </a:p>
          <a:p>
            <a:pPr marL="136364" indent="-136364" algn="just">
              <a:buFont typeface="Arial" panose="020B0604020202020204" pitchFamily="34" charset="0"/>
              <a:buChar char="•"/>
            </a:pPr>
            <a:r>
              <a:rPr lang="en-GB" sz="800" dirty="0">
                <a:latin typeface="Arial" panose="020B0604020202020204" pitchFamily="34" charset="0"/>
                <a:ea typeface="Times New Roman" panose="02020603050405020304" pitchFamily="18" charset="0"/>
              </a:rPr>
              <a:t>Protecting the environment, reducing emissions and improving resource efficiency including energy efficiency</a:t>
            </a:r>
            <a:endParaRPr lang="en-US" sz="8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136364" indent="-136364" algn="just">
              <a:buFont typeface="Arial" panose="020B0604020202020204" pitchFamily="34" charset="0"/>
              <a:buChar char="•"/>
            </a:pPr>
            <a:r>
              <a:rPr lang="en-GB" sz="800" dirty="0">
                <a:latin typeface="Arial" panose="020B0604020202020204" pitchFamily="34" charset="0"/>
                <a:ea typeface="Times New Roman" panose="02020603050405020304" pitchFamily="18" charset="0"/>
              </a:rPr>
              <a:t>Enabling a circular economy and adopting circular business practices and having a positive impact across our value chain</a:t>
            </a:r>
            <a:endParaRPr lang="en-US" sz="8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136364" indent="-136364" algn="just">
              <a:buFont typeface="Arial" panose="020B0604020202020204" pitchFamily="34" charset="0"/>
              <a:buChar char="•"/>
            </a:pPr>
            <a:endParaRPr lang="en-GB" sz="800" dirty="0">
              <a:latin typeface="Akkurat LL" panose="020B0504020101010102" pitchFamily="34" charset="-126"/>
              <a:ea typeface="Akkurat LL" panose="020B0504020101010102" pitchFamily="34" charset="-126"/>
              <a:cs typeface="Akkurat LL" panose="020B0504020101010102" pitchFamily="34" charset="-126"/>
            </a:endParaRPr>
          </a:p>
          <a:p>
            <a:pPr marL="136364" indent="-136364" algn="just">
              <a:buFont typeface="Arial" panose="020B0604020202020204" pitchFamily="34" charset="0"/>
              <a:buChar char="•"/>
            </a:pPr>
            <a:r>
              <a:rPr lang="en-GB" sz="800" dirty="0">
                <a:latin typeface="Arial" panose="020B0604020202020204" pitchFamily="34" charset="0"/>
                <a:ea typeface="Times New Roman" panose="02020603050405020304" pitchFamily="18" charset="0"/>
              </a:rPr>
              <a:t>Making sure our operations are certifiable to recognized industry standards and practices</a:t>
            </a:r>
            <a:endParaRPr lang="en-US" sz="8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136364" indent="-136364" algn="just">
              <a:buFont typeface="Arial" panose="020B0604020202020204" pitchFamily="34" charset="0"/>
              <a:buChar char="•"/>
            </a:pPr>
            <a:r>
              <a:rPr lang="en-GB" sz="800" dirty="0">
                <a:latin typeface="Arial" panose="020B0604020202020204" pitchFamily="34" charset="0"/>
                <a:ea typeface="Times New Roman" panose="02020603050405020304" pitchFamily="18" charset="0"/>
              </a:rPr>
              <a:t>Improving continuously our sustainability management processes and performance</a:t>
            </a:r>
            <a:endParaRPr lang="en-US" sz="8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136364" indent="-136364" algn="just">
              <a:buFont typeface="Arial" panose="020B0604020202020204" pitchFamily="34" charset="0"/>
              <a:buChar char="•"/>
            </a:pPr>
            <a:r>
              <a:rPr lang="en-GB" sz="800" dirty="0">
                <a:latin typeface="Arial" panose="020B0604020202020204" pitchFamily="34" charset="0"/>
                <a:ea typeface="Times New Roman" panose="02020603050405020304" pitchFamily="18" charset="0"/>
              </a:rPr>
              <a:t>Engaging our stakeholders to ensure that our sustainability approach is communicated clearly so their impact on our performance is well known</a:t>
            </a:r>
            <a:endParaRPr lang="en-US" sz="8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2D1F336-D22C-4864-BC21-6E1F85D0A8DC}"/>
              </a:ext>
            </a:extLst>
          </p:cNvPr>
          <p:cNvSpPr txBox="1"/>
          <p:nvPr/>
        </p:nvSpPr>
        <p:spPr>
          <a:xfrm>
            <a:off x="451132" y="1702511"/>
            <a:ext cx="843780" cy="2137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800" b="1" dirty="0">
                <a:latin typeface="Arial" panose="020B0604020202020204" pitchFamily="34" charset="0"/>
                <a:ea typeface="Akkurat LL" panose="020B0504020101010102" pitchFamily="34" charset="-126"/>
                <a:cs typeface="Arial" panose="020B0604020202020204" pitchFamily="34" charset="0"/>
              </a:rPr>
              <a:t>Stakeholders</a:t>
            </a:r>
            <a:endParaRPr lang="fi-FI" sz="800" dirty="0">
              <a:latin typeface="Arial" panose="020B0604020202020204" pitchFamily="34" charset="0"/>
              <a:ea typeface="Akkurat LL" panose="020B0504020101010102" pitchFamily="34" charset="-126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D7A8CA2-C4DC-43B4-AC9A-E6FA96512E4B}"/>
              </a:ext>
            </a:extLst>
          </p:cNvPr>
          <p:cNvSpPr txBox="1"/>
          <p:nvPr/>
        </p:nvSpPr>
        <p:spPr>
          <a:xfrm>
            <a:off x="451132" y="3540724"/>
            <a:ext cx="843780" cy="2137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800" b="1" dirty="0">
                <a:latin typeface="Arial" panose="020B0604020202020204" pitchFamily="34" charset="0"/>
                <a:ea typeface="Akkurat LL" panose="020B0504020101010102" pitchFamily="34" charset="-126"/>
                <a:cs typeface="Arial" panose="020B0604020202020204" pitchFamily="34" charset="0"/>
              </a:rPr>
              <a:t>Environment</a:t>
            </a:r>
            <a:endParaRPr lang="fi-FI" sz="800" dirty="0">
              <a:latin typeface="Arial" panose="020B0604020202020204" pitchFamily="34" charset="0"/>
              <a:ea typeface="Akkurat LL" panose="020B0504020101010102" pitchFamily="34" charset="-126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894584C-057A-4A11-9CC7-213EAA95F12D}"/>
              </a:ext>
            </a:extLst>
          </p:cNvPr>
          <p:cNvSpPr txBox="1"/>
          <p:nvPr/>
        </p:nvSpPr>
        <p:spPr>
          <a:xfrm>
            <a:off x="451132" y="4195969"/>
            <a:ext cx="843780" cy="2137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800" b="1" dirty="0">
                <a:latin typeface="Arial" panose="020B0604020202020204" pitchFamily="34" charset="0"/>
                <a:ea typeface="Akkurat LL" panose="020B0504020101010102" pitchFamily="34" charset="-126"/>
                <a:cs typeface="Arial" panose="020B0604020202020204" pitchFamily="34" charset="0"/>
              </a:rPr>
              <a:t>Governance</a:t>
            </a:r>
            <a:endParaRPr lang="fi-FI" sz="800" dirty="0">
              <a:latin typeface="Arial" panose="020B0604020202020204" pitchFamily="34" charset="0"/>
              <a:ea typeface="Akkurat LL" panose="020B0504020101010102" pitchFamily="34" charset="-126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D546C7A-BC4E-4912-8B6F-4EAB65B6D2BA}"/>
              </a:ext>
            </a:extLst>
          </p:cNvPr>
          <p:cNvSpPr txBox="1"/>
          <p:nvPr/>
        </p:nvSpPr>
        <p:spPr>
          <a:xfrm>
            <a:off x="5035994" y="1703096"/>
            <a:ext cx="843780" cy="2137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789" b="1" dirty="0">
                <a:latin typeface="Arial" panose="020B0604020202020204" pitchFamily="34" charset="0"/>
                <a:ea typeface="Akkurat LL" panose="020B0504020101010102" pitchFamily="34" charset="-126"/>
                <a:cs typeface="Arial" panose="020B0604020202020204" pitchFamily="34" charset="0"/>
              </a:rPr>
              <a:t>Stakeholders</a:t>
            </a:r>
            <a:endParaRPr lang="fi-FI" sz="789" dirty="0">
              <a:latin typeface="Arial" panose="020B0604020202020204" pitchFamily="34" charset="0"/>
              <a:ea typeface="Akkurat LL" panose="020B0504020101010102" pitchFamily="34" charset="-126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7CA3C8B-FA63-4427-9508-7280519E542B}"/>
              </a:ext>
            </a:extLst>
          </p:cNvPr>
          <p:cNvSpPr txBox="1"/>
          <p:nvPr/>
        </p:nvSpPr>
        <p:spPr>
          <a:xfrm>
            <a:off x="5068513" y="4011489"/>
            <a:ext cx="843780" cy="2137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789" b="1" dirty="0">
                <a:latin typeface="Arial" panose="020B0604020202020204" pitchFamily="34" charset="0"/>
                <a:ea typeface="Akkurat LL" panose="020B0504020101010102" pitchFamily="34" charset="-126"/>
                <a:cs typeface="Arial" panose="020B0604020202020204" pitchFamily="34" charset="0"/>
              </a:rPr>
              <a:t>Environment</a:t>
            </a:r>
            <a:endParaRPr lang="fi-FI" sz="789" dirty="0">
              <a:latin typeface="Arial" panose="020B0604020202020204" pitchFamily="34" charset="0"/>
              <a:ea typeface="Akkurat LL" panose="020B0504020101010102" pitchFamily="34" charset="-126"/>
              <a:cs typeface="Arial" panose="020B06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B238376-E7D2-4B99-8A5A-FB94AA8B8869}"/>
              </a:ext>
            </a:extLst>
          </p:cNvPr>
          <p:cNvSpPr txBox="1"/>
          <p:nvPr/>
        </p:nvSpPr>
        <p:spPr>
          <a:xfrm>
            <a:off x="5068513" y="5481941"/>
            <a:ext cx="843780" cy="2137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789" b="1" dirty="0">
                <a:latin typeface="Arial" panose="020B0604020202020204" pitchFamily="34" charset="0"/>
                <a:ea typeface="Akkurat LL" panose="020B0504020101010102" pitchFamily="34" charset="-126"/>
                <a:cs typeface="Arial" panose="020B0604020202020204" pitchFamily="34" charset="0"/>
              </a:rPr>
              <a:t>Governance</a:t>
            </a:r>
            <a:endParaRPr lang="fi-FI" sz="789" dirty="0">
              <a:latin typeface="Arial" panose="020B0604020202020204" pitchFamily="34" charset="0"/>
              <a:ea typeface="Akkurat LL" panose="020B0504020101010102" pitchFamily="34" charset="-126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43082FA-39A2-4BCE-B2AB-B51C0A3A632C}"/>
              </a:ext>
            </a:extLst>
          </p:cNvPr>
          <p:cNvSpPr txBox="1"/>
          <p:nvPr/>
        </p:nvSpPr>
        <p:spPr>
          <a:xfrm>
            <a:off x="5806793" y="1455282"/>
            <a:ext cx="4435475" cy="51398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3131" algn="just"/>
            <a:r>
              <a:rPr lang="en-US" sz="800" b="1" dirty="0">
                <a:solidFill>
                  <a:srgbClr val="312C2C"/>
                </a:solidFill>
                <a:latin typeface="Arial" panose="020B0604020202020204" pitchFamily="34" charset="0"/>
                <a:ea typeface="Akkurat LL" panose="020B0504020101010102" pitchFamily="34" charset="-126"/>
                <a:cs typeface="Arial" panose="020B0604020202020204" pitchFamily="34" charset="0"/>
              </a:rPr>
              <a:t>Our</a:t>
            </a:r>
            <a:r>
              <a:rPr lang="en-US" sz="800" b="1" spc="-16" dirty="0">
                <a:solidFill>
                  <a:srgbClr val="312C2C"/>
                </a:solidFill>
                <a:latin typeface="Arial" panose="020B0604020202020204" pitchFamily="34" charset="0"/>
                <a:ea typeface="Akkurat LL" panose="020B0504020101010102" pitchFamily="34" charset="-126"/>
                <a:cs typeface="Arial" panose="020B0604020202020204" pitchFamily="34" charset="0"/>
              </a:rPr>
              <a:t> a</a:t>
            </a:r>
            <a:r>
              <a:rPr lang="en-US" sz="800" b="1" dirty="0">
                <a:solidFill>
                  <a:srgbClr val="312C2C"/>
                </a:solidFill>
                <a:latin typeface="Arial" panose="020B0604020202020204" pitchFamily="34" charset="0"/>
                <a:ea typeface="Akkurat LL" panose="020B0504020101010102" pitchFamily="34" charset="-126"/>
                <a:cs typeface="Arial" panose="020B0604020202020204" pitchFamily="34" charset="0"/>
              </a:rPr>
              <a:t>pproach</a:t>
            </a:r>
            <a:r>
              <a:rPr lang="en-US" sz="800" b="1" spc="-12" dirty="0">
                <a:solidFill>
                  <a:srgbClr val="312C2C"/>
                </a:solidFill>
                <a:latin typeface="Arial" panose="020B0604020202020204" pitchFamily="34" charset="0"/>
                <a:ea typeface="Akkurat LL" panose="020B0504020101010102" pitchFamily="34" charset="-126"/>
                <a:cs typeface="Arial" panose="020B0604020202020204" pitchFamily="34" charset="0"/>
              </a:rPr>
              <a:t> </a:t>
            </a:r>
            <a:r>
              <a:rPr lang="en-US" sz="800" b="1" dirty="0">
                <a:solidFill>
                  <a:srgbClr val="312C2C"/>
                </a:solidFill>
                <a:latin typeface="Arial" panose="020B0604020202020204" pitchFamily="34" charset="0"/>
                <a:ea typeface="Akkurat LL" panose="020B0504020101010102" pitchFamily="34" charset="-126"/>
                <a:cs typeface="Arial" panose="020B0604020202020204" pitchFamily="34" charset="0"/>
              </a:rPr>
              <a:t>Is to:</a:t>
            </a:r>
            <a:endParaRPr lang="en-US" sz="800" b="1" dirty="0">
              <a:latin typeface="Arial" panose="020B0604020202020204" pitchFamily="34" charset="0"/>
              <a:ea typeface="Akkurat LL" panose="020B0504020101010102" pitchFamily="34" charset="-126"/>
              <a:cs typeface="Arial" panose="020B0604020202020204" pitchFamily="34" charset="0"/>
            </a:endParaRPr>
          </a:p>
          <a:p>
            <a:pPr marL="136364" indent="-136364" algn="just">
              <a:buFont typeface="Arial" panose="020B0604020202020204" pitchFamily="34" charset="0"/>
              <a:buChar char="•"/>
            </a:pPr>
            <a:endParaRPr lang="en-GB" sz="800" dirty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136364" indent="-136364" algn="just">
              <a:buFont typeface="Arial" panose="020B0604020202020204" pitchFamily="34" charset="0"/>
              <a:buChar char="•"/>
            </a:pPr>
            <a:r>
              <a:rPr lang="en-GB" sz="800" dirty="0">
                <a:latin typeface="Arial" panose="020B0604020202020204" pitchFamily="34" charset="0"/>
                <a:ea typeface="Times New Roman" panose="02020603050405020304" pitchFamily="18" charset="0"/>
              </a:rPr>
              <a:t>Build an interdependent health and safety culture where each individual has the right and authority to stop unsafe or unhealthy work </a:t>
            </a:r>
            <a:endParaRPr lang="en-US" sz="8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136364" indent="-136364" algn="just">
              <a:buFont typeface="Arial" panose="020B0604020202020204" pitchFamily="34" charset="0"/>
              <a:buChar char="•"/>
            </a:pPr>
            <a:r>
              <a:rPr lang="en-GB" sz="800" dirty="0">
                <a:latin typeface="Arial" panose="020B0604020202020204" pitchFamily="34" charset="0"/>
                <a:ea typeface="Times New Roman" panose="02020603050405020304" pitchFamily="18" charset="0"/>
              </a:rPr>
              <a:t>Evaluate and address proactively the impacts, risks and opportunities related to our material topics in our own value-chain </a:t>
            </a:r>
            <a:endParaRPr lang="en-US" sz="8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136364" indent="-136364" algn="just">
              <a:buFont typeface="Arial" panose="020B0604020202020204" pitchFamily="34" charset="0"/>
              <a:buChar char="•"/>
            </a:pPr>
            <a:r>
              <a:rPr lang="en-GB" sz="800" dirty="0">
                <a:latin typeface="Arial" panose="020B0604020202020204" pitchFamily="34" charset="0"/>
                <a:ea typeface="Times New Roman" panose="02020603050405020304" pitchFamily="18" charset="0"/>
              </a:rPr>
              <a:t>Take effective measures in our operations to eliminate hazards, reduce risks and prevent incidents and head towards zero injuries and a well-being environment in all our activities</a:t>
            </a:r>
            <a:endParaRPr lang="en-US" sz="8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136364" indent="-136364" algn="just">
              <a:buFont typeface="Arial" panose="020B0604020202020204" pitchFamily="34" charset="0"/>
              <a:buChar char="•"/>
            </a:pPr>
            <a:r>
              <a:rPr lang="en-GB" sz="800" dirty="0">
                <a:latin typeface="Arial" panose="020B0604020202020204" pitchFamily="34" charset="0"/>
                <a:ea typeface="Times New Roman" panose="02020603050405020304" pitchFamily="18" charset="0"/>
              </a:rPr>
              <a:t>Create equal opportunities to learn and grow, foster a strong sense of belonging and respect the unique perspectives of all employees</a:t>
            </a:r>
            <a:endParaRPr lang="en-US" sz="8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136364" indent="-136364" algn="just">
              <a:buFont typeface="Arial" panose="020B0604020202020204" pitchFamily="34" charset="0"/>
              <a:buChar char="•"/>
            </a:pPr>
            <a:r>
              <a:rPr lang="en-GB" sz="800" dirty="0">
                <a:latin typeface="Arial" panose="020B0604020202020204" pitchFamily="34" charset="0"/>
                <a:ea typeface="Times New Roman" panose="02020603050405020304" pitchFamily="18" charset="0"/>
              </a:rPr>
              <a:t>Communicate openly and honestly, promote participation and involvement of employees and key stakeholders and provide required trainings </a:t>
            </a:r>
            <a:endParaRPr lang="en-US" sz="8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136364" indent="-136364" algn="just">
              <a:buFont typeface="Arial" panose="020B0604020202020204" pitchFamily="34" charset="0"/>
              <a:buChar char="•"/>
            </a:pPr>
            <a:r>
              <a:rPr lang="en-GB" sz="800" dirty="0">
                <a:latin typeface="Arial" panose="020B0604020202020204" pitchFamily="34" charset="0"/>
                <a:ea typeface="Times New Roman" panose="02020603050405020304" pitchFamily="18" charset="0"/>
              </a:rPr>
              <a:t>Enhance the positive impacts ethically in our whole value-chain, on our people, our business partners, the environment and surrounding communities</a:t>
            </a:r>
            <a:endParaRPr lang="en-US" sz="8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136364" indent="-136364" algn="just">
              <a:buFont typeface="Arial" panose="020B0604020202020204" pitchFamily="34" charset="0"/>
              <a:buChar char="•"/>
            </a:pPr>
            <a:r>
              <a:rPr lang="en-GB" sz="800" dirty="0">
                <a:latin typeface="Arial" panose="020B0604020202020204" pitchFamily="34" charset="0"/>
                <a:ea typeface="Times New Roman" panose="02020603050405020304" pitchFamily="18" charset="0"/>
              </a:rPr>
              <a:t>Set objectives, performance indicators, and targets to meet the intended results; monitor performance and react when needed</a:t>
            </a:r>
            <a:endParaRPr lang="en-US" sz="8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136364" indent="-136364" algn="just">
              <a:buFont typeface="Arial" panose="020B0604020202020204" pitchFamily="34" charset="0"/>
              <a:buChar char="•"/>
            </a:pPr>
            <a:r>
              <a:rPr lang="en-GB" sz="800" dirty="0">
                <a:latin typeface="Arial" panose="020B0604020202020204" pitchFamily="34" charset="0"/>
                <a:ea typeface="Times New Roman" panose="02020603050405020304" pitchFamily="18" charset="0"/>
              </a:rPr>
              <a:t>Report our performance annually or within needed frequency as requested by stakeholders to demonstrate financial and non-financial transparency</a:t>
            </a:r>
            <a:endParaRPr lang="en-US" sz="8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136364" indent="-136364" algn="just">
              <a:buFont typeface="Arial" panose="020B0604020202020204" pitchFamily="34" charset="0"/>
              <a:buChar char="•"/>
            </a:pPr>
            <a:r>
              <a:rPr lang="en-GB" sz="800" dirty="0">
                <a:latin typeface="Arial" panose="020B0604020202020204" pitchFamily="34" charset="0"/>
                <a:ea typeface="Times New Roman" panose="02020603050405020304" pitchFamily="18" charset="0"/>
              </a:rPr>
              <a:t>Understand sustainability as an opportunity and actively work on building a portfolio of sustainable solutions</a:t>
            </a:r>
            <a:endParaRPr lang="en-US" sz="8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136364" indent="-136364" algn="just">
              <a:buFont typeface="Arial" panose="020B0604020202020204" pitchFamily="34" charset="0"/>
              <a:buChar char="•"/>
            </a:pPr>
            <a:endParaRPr lang="en-US" sz="800" dirty="0">
              <a:latin typeface="Akkurat LL" panose="020B0504020101010102" pitchFamily="34" charset="-126"/>
              <a:ea typeface="Times New Roman" panose="02020603050405020304" pitchFamily="18" charset="0"/>
            </a:endParaRPr>
          </a:p>
          <a:p>
            <a:pPr marL="136364" indent="-136364" algn="just">
              <a:buFont typeface="Arial" panose="020B0604020202020204" pitchFamily="34" charset="0"/>
              <a:buChar char="•"/>
            </a:pPr>
            <a:r>
              <a:rPr lang="en-GB" sz="800" dirty="0">
                <a:latin typeface="Arial" panose="020B0604020202020204" pitchFamily="34" charset="0"/>
                <a:ea typeface="Times New Roman" panose="02020603050405020304" pitchFamily="18" charset="0"/>
              </a:rPr>
              <a:t>Reduce greenhouse gas emissions; releases to air, water and soil; water and material use and waste generation through circular economy principles, and sustainable sourcing and value chain management</a:t>
            </a:r>
            <a:endParaRPr lang="en-US" sz="8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136364" indent="-136364" algn="just">
              <a:buFont typeface="Arial" panose="020B0604020202020204" pitchFamily="34" charset="0"/>
              <a:buChar char="•"/>
            </a:pPr>
            <a:r>
              <a:rPr lang="en-GB" sz="800" dirty="0">
                <a:latin typeface="Arial" panose="020B0604020202020204" pitchFamily="34" charset="0"/>
                <a:ea typeface="Times New Roman" panose="02020603050405020304" pitchFamily="18" charset="0"/>
              </a:rPr>
              <a:t>Evaluate near-term and long-term risks and opportunities related to climate change mitigation and adaptation in our operations and value chain to accelerate decarbonization, enable circularity, and provide value to our customers</a:t>
            </a:r>
            <a:endParaRPr lang="en-US" sz="8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136364" indent="-136364" algn="just">
              <a:buFont typeface="Arial" panose="020B0604020202020204" pitchFamily="34" charset="0"/>
              <a:buChar char="•"/>
            </a:pPr>
            <a:r>
              <a:rPr lang="en-GB" sz="800" dirty="0">
                <a:latin typeface="Arial" panose="020B0604020202020204" pitchFamily="34" charset="0"/>
                <a:ea typeface="Times New Roman" panose="02020603050405020304" pitchFamily="18" charset="0"/>
              </a:rPr>
              <a:t>Reduce negative impacts on biodiversity and ecosystems and promote responsible and efficient use of natural resources in the whole value chain</a:t>
            </a:r>
            <a:endParaRPr lang="en-US" sz="8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136364" indent="-136364" algn="just">
              <a:buFont typeface="Arial" panose="020B0604020202020204" pitchFamily="34" charset="0"/>
              <a:buChar char="•"/>
            </a:pPr>
            <a:r>
              <a:rPr lang="en-GB" sz="800" dirty="0">
                <a:latin typeface="Arial" panose="020B0604020202020204" pitchFamily="34" charset="0"/>
                <a:ea typeface="Times New Roman" panose="02020603050405020304" pitchFamily="18" charset="0"/>
              </a:rPr>
              <a:t>Create resource efficiency to customers through chemistry and digital service solutions</a:t>
            </a:r>
            <a:endParaRPr lang="en-US" sz="8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136364" indent="-136364" algn="just">
              <a:buFont typeface="Arial" panose="020B0604020202020204" pitchFamily="34" charset="0"/>
              <a:buChar char="•"/>
            </a:pPr>
            <a:r>
              <a:rPr lang="en-GB" sz="800" dirty="0">
                <a:latin typeface="Arial" panose="020B0604020202020204" pitchFamily="34" charset="0"/>
                <a:ea typeface="Times New Roman" panose="02020603050405020304" pitchFamily="18" charset="0"/>
              </a:rPr>
              <a:t>Provide products to the wastewater treatment that enable the availability of clean and high-quality water to people and nature</a:t>
            </a:r>
            <a:endParaRPr lang="en-US" sz="8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136364" indent="-136364" algn="just">
              <a:buFont typeface="Arial" panose="020B0604020202020204" pitchFamily="34" charset="0"/>
              <a:buChar char="•"/>
            </a:pPr>
            <a:endParaRPr lang="en-US" sz="800" dirty="0">
              <a:latin typeface="Akkurat LL" panose="020B0504020101010102" pitchFamily="34" charset="-126"/>
              <a:ea typeface="Akkurat LL" panose="020B0504020101010102" pitchFamily="34" charset="-126"/>
              <a:cs typeface="Akkurat LL" panose="020B0504020101010102" pitchFamily="34" charset="-126"/>
            </a:endParaRPr>
          </a:p>
          <a:p>
            <a:pPr marL="136364" indent="-136364" algn="just">
              <a:buFont typeface="Arial" panose="020B0604020202020204" pitchFamily="34" charset="0"/>
              <a:buChar char="•"/>
            </a:pPr>
            <a:r>
              <a:rPr lang="en-GB" sz="800" dirty="0">
                <a:latin typeface="Arial" panose="020B0604020202020204" pitchFamily="34" charset="0"/>
                <a:ea typeface="Times New Roman" panose="02020603050405020304" pitchFamily="18" charset="0"/>
              </a:rPr>
              <a:t>Comply with all applicable regulatory obligations in developing, sourcing, producing, delivering safe and responsible products and services</a:t>
            </a:r>
            <a:endParaRPr lang="en-US" sz="8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136364" indent="-136364" algn="just">
              <a:buFont typeface="Arial" panose="020B0604020202020204" pitchFamily="34" charset="0"/>
              <a:buChar char="•"/>
            </a:pPr>
            <a:r>
              <a:rPr lang="en-GB" sz="800" dirty="0">
                <a:latin typeface="Arial" panose="020B0604020202020204" pitchFamily="34" charset="0"/>
                <a:ea typeface="Times New Roman" panose="02020603050405020304" pitchFamily="18" charset="0"/>
              </a:rPr>
              <a:t>Increase our understanding of our environmental and social impacts and continuously improving our mitigation efforts and actions</a:t>
            </a:r>
            <a:endParaRPr lang="en-US" sz="8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136364" indent="-136364" algn="just">
              <a:buFont typeface="Arial" panose="020B0604020202020204" pitchFamily="34" charset="0"/>
              <a:buChar char="•"/>
            </a:pPr>
            <a:r>
              <a:rPr lang="en-GB" sz="800" dirty="0">
                <a:latin typeface="Arial" panose="020B0604020202020204" pitchFamily="34" charset="0"/>
                <a:ea typeface="Times New Roman" panose="02020603050405020304" pitchFamily="18" charset="0"/>
              </a:rPr>
              <a:t>Review and continuously improve our Integrated Management System</a:t>
            </a:r>
            <a:endParaRPr lang="en-US" sz="8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136364" indent="-136364" algn="just">
              <a:buFont typeface="Arial" panose="020B0604020202020204" pitchFamily="34" charset="0"/>
              <a:buChar char="•"/>
            </a:pPr>
            <a:r>
              <a:rPr lang="en-GB" sz="800" dirty="0">
                <a:latin typeface="Arial" panose="020B0604020202020204" pitchFamily="34" charset="0"/>
                <a:ea typeface="Times New Roman" panose="02020603050405020304" pitchFamily="18" charset="0"/>
              </a:rPr>
              <a:t>Implement the best available technology including energy performance improvement when designing, constructing or upgrading our assets</a:t>
            </a:r>
            <a:endParaRPr lang="en-US" sz="8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136364" indent="-136364" algn="just">
              <a:buFont typeface="Arial" panose="020B0604020202020204" pitchFamily="34" charset="0"/>
              <a:buChar char="•"/>
            </a:pPr>
            <a:r>
              <a:rPr lang="en-GB" sz="800" dirty="0">
                <a:latin typeface="Arial" panose="020B0604020202020204" pitchFamily="34" charset="0"/>
                <a:ea typeface="Times New Roman" panose="02020603050405020304" pitchFamily="18" charset="0"/>
              </a:rPr>
              <a:t>Deliver transparent communication of strategies and decisions</a:t>
            </a:r>
            <a:endParaRPr lang="en-US" sz="800" dirty="0">
              <a:latin typeface="Akkurat LL" panose="020B0504020101010102" pitchFamily="34" charset="-126"/>
              <a:ea typeface="Akkurat LL" panose="020B0504020101010102" pitchFamily="34" charset="-126"/>
              <a:cs typeface="Akkurat LL" panose="020B0504020101010102" pitchFamily="34" charset="-126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D7E9F7C-C0A8-43B1-84D7-6A35078D341F}"/>
              </a:ext>
            </a:extLst>
          </p:cNvPr>
          <p:cNvSpPr txBox="1"/>
          <p:nvPr/>
        </p:nvSpPr>
        <p:spPr>
          <a:xfrm>
            <a:off x="700734" y="6176963"/>
            <a:ext cx="3438359" cy="6031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8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We also expect organizations working on behalf of or with Kemira to adopt practices in line with this policy.</a:t>
            </a:r>
            <a:endParaRPr lang="fi-FI" sz="8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18181" marR="985858">
              <a:lnSpc>
                <a:spcPct val="111700"/>
              </a:lnSpc>
            </a:pPr>
            <a:endParaRPr lang="fi-FI" sz="800" dirty="0">
              <a:solidFill>
                <a:srgbClr val="312C2C"/>
              </a:solidFill>
              <a:latin typeface="Arial" panose="020B0604020202020204" pitchFamily="34" charset="0"/>
              <a:ea typeface="Akkurat LL" panose="020B0504020101010102" pitchFamily="34" charset="-126"/>
              <a:cs typeface="Arial" panose="020B0604020202020204" pitchFamily="34" charset="0"/>
            </a:endParaRPr>
          </a:p>
          <a:p>
            <a:pPr marL="18181" marR="985858">
              <a:lnSpc>
                <a:spcPct val="111700"/>
              </a:lnSpc>
            </a:pPr>
            <a:r>
              <a:rPr lang="fi-FI" sz="8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Helsinki, December 11, 2023</a:t>
            </a:r>
          </a:p>
        </p:txBody>
      </p:sp>
      <p:sp>
        <p:nvSpPr>
          <p:cNvPr id="13" name="object 6">
            <a:extLst>
              <a:ext uri="{FF2B5EF4-FFF2-40B4-BE49-F238E27FC236}">
                <a16:creationId xmlns:a16="http://schemas.microsoft.com/office/drawing/2014/main" id="{EDE0D42E-66E2-4E1E-8D80-C6EEABC1E17D}"/>
              </a:ext>
            </a:extLst>
          </p:cNvPr>
          <p:cNvSpPr txBox="1"/>
          <p:nvPr/>
        </p:nvSpPr>
        <p:spPr>
          <a:xfrm>
            <a:off x="777497" y="6807062"/>
            <a:ext cx="1636332" cy="256420"/>
          </a:xfrm>
          <a:prstGeom prst="rect">
            <a:avLst/>
          </a:prstGeom>
        </p:spPr>
        <p:txBody>
          <a:bodyPr vert="horz" wrap="square" lIns="0" tIns="10100" rIns="0" bIns="0" rtlCol="0">
            <a:spAutoFit/>
          </a:bodyPr>
          <a:lstStyle/>
          <a:p>
            <a:pPr marL="10101">
              <a:spcBef>
                <a:spcPts val="80"/>
              </a:spcBef>
            </a:pPr>
            <a:r>
              <a:rPr lang="en-US" sz="800" b="1" dirty="0">
                <a:solidFill>
                  <a:srgbClr val="312C2C"/>
                </a:solidFill>
                <a:latin typeface="Arial" panose="020B0604020202020204" pitchFamily="34" charset="0"/>
                <a:ea typeface="Akkurat LL" panose="020B0504020101010102" pitchFamily="34" charset="-126"/>
                <a:cs typeface="Arial" panose="020B0604020202020204" pitchFamily="34" charset="0"/>
              </a:rPr>
              <a:t>Antti Salminen</a:t>
            </a:r>
            <a:endParaRPr sz="800" b="1" dirty="0">
              <a:latin typeface="Arial" panose="020B0604020202020204" pitchFamily="34" charset="0"/>
              <a:ea typeface="Akkurat LL" panose="020B0504020101010102" pitchFamily="34" charset="-126"/>
              <a:cs typeface="Arial" panose="020B0604020202020204" pitchFamily="34" charset="0"/>
            </a:endParaRPr>
          </a:p>
          <a:p>
            <a:pPr marL="10101">
              <a:spcBef>
                <a:spcPts val="4"/>
              </a:spcBef>
            </a:pPr>
            <a:r>
              <a:rPr lang="en-US" sz="800" dirty="0">
                <a:solidFill>
                  <a:srgbClr val="312C2C"/>
                </a:solidFill>
                <a:latin typeface="Arial" panose="020B0604020202020204" pitchFamily="34" charset="0"/>
                <a:ea typeface="Akkurat LL" panose="020B0504020101010102" pitchFamily="34" charset="-126"/>
                <a:cs typeface="Arial" panose="020B0604020202020204" pitchFamily="34" charset="0"/>
              </a:rPr>
              <a:t>President &amp; </a:t>
            </a:r>
            <a:r>
              <a:rPr sz="800" dirty="0">
                <a:solidFill>
                  <a:srgbClr val="312C2C"/>
                </a:solidFill>
                <a:latin typeface="Arial" panose="020B0604020202020204" pitchFamily="34" charset="0"/>
                <a:ea typeface="Akkurat LL" panose="020B0504020101010102" pitchFamily="34" charset="-126"/>
                <a:cs typeface="Arial" panose="020B0604020202020204" pitchFamily="34" charset="0"/>
              </a:rPr>
              <a:t>CEO</a:t>
            </a:r>
            <a:endParaRPr sz="800" dirty="0">
              <a:latin typeface="Arial" panose="020B0604020202020204" pitchFamily="34" charset="0"/>
              <a:ea typeface="Akkurat LL" panose="020B0504020101010102" pitchFamily="34" charset="-126"/>
              <a:cs typeface="Arial" panose="020B0604020202020204" pitchFamily="34" charset="0"/>
            </a:endParaRPr>
          </a:p>
        </p:txBody>
      </p:sp>
      <p:sp>
        <p:nvSpPr>
          <p:cNvPr id="3" name="Freeform 6">
            <a:extLst>
              <a:ext uri="{FF2B5EF4-FFF2-40B4-BE49-F238E27FC236}">
                <a16:creationId xmlns:a16="http://schemas.microsoft.com/office/drawing/2014/main" id="{95C75BCF-4090-9829-4CF9-1BE1F91E40C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914922" y="351292"/>
            <a:ext cx="1085924" cy="202997"/>
          </a:xfrm>
          <a:custGeom>
            <a:avLst/>
            <a:gdLst>
              <a:gd name="T0" fmla="*/ 1828 w 5971"/>
              <a:gd name="T1" fmla="*/ 967 h 1115"/>
              <a:gd name="T2" fmla="*/ 1577 w 5971"/>
              <a:gd name="T3" fmla="*/ 1104 h 1115"/>
              <a:gd name="T4" fmla="*/ 1259 w 5971"/>
              <a:gd name="T5" fmla="*/ 1080 h 1115"/>
              <a:gd name="T6" fmla="*/ 1071 w 5971"/>
              <a:gd name="T7" fmla="*/ 932 h 1115"/>
              <a:gd name="T8" fmla="*/ 982 w 5971"/>
              <a:gd name="T9" fmla="*/ 665 h 1115"/>
              <a:gd name="T10" fmla="*/ 1023 w 5971"/>
              <a:gd name="T11" fmla="*/ 275 h 1115"/>
              <a:gd name="T12" fmla="*/ 1229 w 5971"/>
              <a:gd name="T13" fmla="*/ 49 h 1115"/>
              <a:gd name="T14" fmla="*/ 1509 w 5971"/>
              <a:gd name="T15" fmla="*/ 2 h 1115"/>
              <a:gd name="T16" fmla="*/ 1768 w 5971"/>
              <a:gd name="T17" fmla="*/ 97 h 1115"/>
              <a:gd name="T18" fmla="*/ 1906 w 5971"/>
              <a:gd name="T19" fmla="*/ 301 h 1115"/>
              <a:gd name="T20" fmla="*/ 1244 w 5971"/>
              <a:gd name="T21" fmla="*/ 631 h 1115"/>
              <a:gd name="T22" fmla="*/ 1303 w 5971"/>
              <a:gd name="T23" fmla="*/ 811 h 1115"/>
              <a:gd name="T24" fmla="*/ 1447 w 5971"/>
              <a:gd name="T25" fmla="*/ 878 h 1115"/>
              <a:gd name="T26" fmla="*/ 1604 w 5971"/>
              <a:gd name="T27" fmla="*/ 831 h 1115"/>
              <a:gd name="T28" fmla="*/ 1414 w 5971"/>
              <a:gd name="T29" fmla="*/ 221 h 1115"/>
              <a:gd name="T30" fmla="*/ 1286 w 5971"/>
              <a:gd name="T31" fmla="*/ 320 h 1115"/>
              <a:gd name="T32" fmla="*/ 1617 w 5971"/>
              <a:gd name="T33" fmla="*/ 291 h 1115"/>
              <a:gd name="T34" fmla="*/ 1485 w 5971"/>
              <a:gd name="T35" fmla="*/ 218 h 1115"/>
              <a:gd name="T36" fmla="*/ 5660 w 5971"/>
              <a:gd name="T37" fmla="*/ 267 h 1115"/>
              <a:gd name="T38" fmla="*/ 5465 w 5971"/>
              <a:gd name="T39" fmla="*/ 238 h 1115"/>
              <a:gd name="T40" fmla="*/ 5360 w 5971"/>
              <a:gd name="T41" fmla="*/ 336 h 1115"/>
              <a:gd name="T42" fmla="*/ 5199 w 5971"/>
              <a:gd name="T43" fmla="*/ 121 h 1115"/>
              <a:gd name="T44" fmla="*/ 5408 w 5971"/>
              <a:gd name="T45" fmla="*/ 12 h 1115"/>
              <a:gd name="T46" fmla="*/ 5710 w 5971"/>
              <a:gd name="T47" fmla="*/ 28 h 1115"/>
              <a:gd name="T48" fmla="*/ 5929 w 5971"/>
              <a:gd name="T49" fmla="*/ 203 h 1115"/>
              <a:gd name="T50" fmla="*/ 5970 w 5971"/>
              <a:gd name="T51" fmla="*/ 1093 h 1115"/>
              <a:gd name="T52" fmla="*/ 5218 w 5971"/>
              <a:gd name="T53" fmla="*/ 1049 h 1115"/>
              <a:gd name="T54" fmla="*/ 5061 w 5971"/>
              <a:gd name="T55" fmla="*/ 867 h 1115"/>
              <a:gd name="T56" fmla="*/ 5080 w 5971"/>
              <a:gd name="T57" fmla="*/ 611 h 1115"/>
              <a:gd name="T58" fmla="*/ 5265 w 5971"/>
              <a:gd name="T59" fmla="*/ 438 h 1115"/>
              <a:gd name="T60" fmla="*/ 5400 w 5971"/>
              <a:gd name="T61" fmla="*/ 636 h 1115"/>
              <a:gd name="T62" fmla="*/ 5304 w 5971"/>
              <a:gd name="T63" fmla="*/ 739 h 1115"/>
              <a:gd name="T64" fmla="*/ 5388 w 5971"/>
              <a:gd name="T65" fmla="*/ 861 h 1115"/>
              <a:gd name="T66" fmla="*/ 383 w 5971"/>
              <a:gd name="T67" fmla="*/ 349 h 1115"/>
              <a:gd name="T68" fmla="*/ 580 w 5971"/>
              <a:gd name="T69" fmla="*/ 87 h 1115"/>
              <a:gd name="T70" fmla="*/ 777 w 5971"/>
              <a:gd name="T71" fmla="*/ 235 h 1115"/>
              <a:gd name="T72" fmla="*/ 568 w 5971"/>
              <a:gd name="T73" fmla="*/ 507 h 1115"/>
              <a:gd name="T74" fmla="*/ 701 w 5971"/>
              <a:gd name="T75" fmla="*/ 724 h 1115"/>
              <a:gd name="T76" fmla="*/ 839 w 5971"/>
              <a:gd name="T77" fmla="*/ 1038 h 1115"/>
              <a:gd name="T78" fmla="*/ 504 w 5971"/>
              <a:gd name="T79" fmla="*/ 869 h 1115"/>
              <a:gd name="T80" fmla="*/ 305 w 5971"/>
              <a:gd name="T81" fmla="*/ 699 h 1115"/>
              <a:gd name="T82" fmla="*/ 3168 w 5971"/>
              <a:gd name="T83" fmla="*/ 349 h 1115"/>
              <a:gd name="T84" fmla="*/ 3082 w 5971"/>
              <a:gd name="T85" fmla="*/ 241 h 1115"/>
              <a:gd name="T86" fmla="*/ 2946 w 5971"/>
              <a:gd name="T87" fmla="*/ 287 h 1115"/>
              <a:gd name="T88" fmla="*/ 2664 w 5971"/>
              <a:gd name="T89" fmla="*/ 326 h 1115"/>
              <a:gd name="T90" fmla="*/ 2571 w 5971"/>
              <a:gd name="T91" fmla="*/ 238 h 1115"/>
              <a:gd name="T92" fmla="*/ 2438 w 5971"/>
              <a:gd name="T93" fmla="*/ 301 h 1115"/>
              <a:gd name="T94" fmla="*/ 2179 w 5971"/>
              <a:gd name="T95" fmla="*/ 275 h 1115"/>
              <a:gd name="T96" fmla="*/ 2295 w 5971"/>
              <a:gd name="T97" fmla="*/ 83 h 1115"/>
              <a:gd name="T98" fmla="*/ 2569 w 5971"/>
              <a:gd name="T99" fmla="*/ 1 h 1115"/>
              <a:gd name="T100" fmla="*/ 2793 w 5971"/>
              <a:gd name="T101" fmla="*/ 82 h 1115"/>
              <a:gd name="T102" fmla="*/ 3004 w 5971"/>
              <a:gd name="T103" fmla="*/ 2 h 1115"/>
              <a:gd name="T104" fmla="*/ 3267 w 5971"/>
              <a:gd name="T105" fmla="*/ 63 h 1115"/>
              <a:gd name="T106" fmla="*/ 3412 w 5971"/>
              <a:gd name="T107" fmla="*/ 275 h 1115"/>
              <a:gd name="T108" fmla="*/ 4279 w 5971"/>
              <a:gd name="T109" fmla="*/ 253 h 1115"/>
              <a:gd name="T110" fmla="*/ 4418 w 5971"/>
              <a:gd name="T111" fmla="*/ 61 h 1115"/>
              <a:gd name="T112" fmla="*/ 4711 w 5971"/>
              <a:gd name="T113" fmla="*/ 5 h 1115"/>
              <a:gd name="T114" fmla="*/ 4940 w 5971"/>
              <a:gd name="T115" fmla="*/ 120 h 1115"/>
              <a:gd name="T116" fmla="*/ 5020 w 5971"/>
              <a:gd name="T117" fmla="*/ 336 h 1115"/>
              <a:gd name="T118" fmla="*/ 4688 w 5971"/>
              <a:gd name="T119" fmla="*/ 242 h 1115"/>
              <a:gd name="T120" fmla="*/ 4552 w 5971"/>
              <a:gd name="T121" fmla="*/ 272 h 1115"/>
              <a:gd name="T122" fmla="*/ 3716 w 5971"/>
              <a:gd name="T123" fmla="*/ 556 h 11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971" h="1115">
                <a:moveTo>
                  <a:pt x="1929" y="765"/>
                </a:moveTo>
                <a:lnTo>
                  <a:pt x="1926" y="777"/>
                </a:lnTo>
                <a:lnTo>
                  <a:pt x="1923" y="788"/>
                </a:lnTo>
                <a:lnTo>
                  <a:pt x="1921" y="798"/>
                </a:lnTo>
                <a:lnTo>
                  <a:pt x="1917" y="809"/>
                </a:lnTo>
                <a:lnTo>
                  <a:pt x="1911" y="829"/>
                </a:lnTo>
                <a:lnTo>
                  <a:pt x="1903" y="849"/>
                </a:lnTo>
                <a:lnTo>
                  <a:pt x="1895" y="868"/>
                </a:lnTo>
                <a:lnTo>
                  <a:pt x="1886" y="887"/>
                </a:lnTo>
                <a:lnTo>
                  <a:pt x="1881" y="896"/>
                </a:lnTo>
                <a:lnTo>
                  <a:pt x="1876" y="905"/>
                </a:lnTo>
                <a:lnTo>
                  <a:pt x="1865" y="921"/>
                </a:lnTo>
                <a:lnTo>
                  <a:pt x="1854" y="937"/>
                </a:lnTo>
                <a:lnTo>
                  <a:pt x="1842" y="952"/>
                </a:lnTo>
                <a:lnTo>
                  <a:pt x="1828" y="967"/>
                </a:lnTo>
                <a:lnTo>
                  <a:pt x="1815" y="981"/>
                </a:lnTo>
                <a:lnTo>
                  <a:pt x="1801" y="995"/>
                </a:lnTo>
                <a:lnTo>
                  <a:pt x="1787" y="1007"/>
                </a:lnTo>
                <a:lnTo>
                  <a:pt x="1771" y="1019"/>
                </a:lnTo>
                <a:lnTo>
                  <a:pt x="1756" y="1030"/>
                </a:lnTo>
                <a:lnTo>
                  <a:pt x="1740" y="1040"/>
                </a:lnTo>
                <a:lnTo>
                  <a:pt x="1723" y="1050"/>
                </a:lnTo>
                <a:lnTo>
                  <a:pt x="1707" y="1059"/>
                </a:lnTo>
                <a:lnTo>
                  <a:pt x="1689" y="1067"/>
                </a:lnTo>
                <a:lnTo>
                  <a:pt x="1671" y="1075"/>
                </a:lnTo>
                <a:lnTo>
                  <a:pt x="1653" y="1083"/>
                </a:lnTo>
                <a:lnTo>
                  <a:pt x="1634" y="1088"/>
                </a:lnTo>
                <a:lnTo>
                  <a:pt x="1616" y="1094"/>
                </a:lnTo>
                <a:lnTo>
                  <a:pt x="1597" y="1099"/>
                </a:lnTo>
                <a:lnTo>
                  <a:pt x="1577" y="1104"/>
                </a:lnTo>
                <a:lnTo>
                  <a:pt x="1558" y="1107"/>
                </a:lnTo>
                <a:lnTo>
                  <a:pt x="1538" y="1109"/>
                </a:lnTo>
                <a:lnTo>
                  <a:pt x="1519" y="1112"/>
                </a:lnTo>
                <a:lnTo>
                  <a:pt x="1499" y="1114"/>
                </a:lnTo>
                <a:lnTo>
                  <a:pt x="1479" y="1115"/>
                </a:lnTo>
                <a:lnTo>
                  <a:pt x="1459" y="1115"/>
                </a:lnTo>
                <a:lnTo>
                  <a:pt x="1434" y="1115"/>
                </a:lnTo>
                <a:lnTo>
                  <a:pt x="1409" y="1113"/>
                </a:lnTo>
                <a:lnTo>
                  <a:pt x="1385" y="1111"/>
                </a:lnTo>
                <a:lnTo>
                  <a:pt x="1361" y="1107"/>
                </a:lnTo>
                <a:lnTo>
                  <a:pt x="1337" y="1104"/>
                </a:lnTo>
                <a:lnTo>
                  <a:pt x="1315" y="1098"/>
                </a:lnTo>
                <a:lnTo>
                  <a:pt x="1292" y="1092"/>
                </a:lnTo>
                <a:lnTo>
                  <a:pt x="1271" y="1085"/>
                </a:lnTo>
                <a:lnTo>
                  <a:pt x="1259" y="1080"/>
                </a:lnTo>
                <a:lnTo>
                  <a:pt x="1249" y="1076"/>
                </a:lnTo>
                <a:lnTo>
                  <a:pt x="1228" y="1067"/>
                </a:lnTo>
                <a:lnTo>
                  <a:pt x="1208" y="1057"/>
                </a:lnTo>
                <a:lnTo>
                  <a:pt x="1188" y="1045"/>
                </a:lnTo>
                <a:lnTo>
                  <a:pt x="1169" y="1033"/>
                </a:lnTo>
                <a:lnTo>
                  <a:pt x="1151" y="1019"/>
                </a:lnTo>
                <a:lnTo>
                  <a:pt x="1133" y="1004"/>
                </a:lnTo>
                <a:lnTo>
                  <a:pt x="1124" y="996"/>
                </a:lnTo>
                <a:lnTo>
                  <a:pt x="1117" y="988"/>
                </a:lnTo>
                <a:lnTo>
                  <a:pt x="1109" y="979"/>
                </a:lnTo>
                <a:lnTo>
                  <a:pt x="1101" y="970"/>
                </a:lnTo>
                <a:lnTo>
                  <a:pt x="1093" y="961"/>
                </a:lnTo>
                <a:lnTo>
                  <a:pt x="1085" y="952"/>
                </a:lnTo>
                <a:lnTo>
                  <a:pt x="1079" y="942"/>
                </a:lnTo>
                <a:lnTo>
                  <a:pt x="1071" y="932"/>
                </a:lnTo>
                <a:lnTo>
                  <a:pt x="1064" y="922"/>
                </a:lnTo>
                <a:lnTo>
                  <a:pt x="1057" y="911"/>
                </a:lnTo>
                <a:lnTo>
                  <a:pt x="1045" y="889"/>
                </a:lnTo>
                <a:lnTo>
                  <a:pt x="1034" y="866"/>
                </a:lnTo>
                <a:lnTo>
                  <a:pt x="1028" y="853"/>
                </a:lnTo>
                <a:lnTo>
                  <a:pt x="1023" y="841"/>
                </a:lnTo>
                <a:lnTo>
                  <a:pt x="1013" y="816"/>
                </a:lnTo>
                <a:lnTo>
                  <a:pt x="1005" y="788"/>
                </a:lnTo>
                <a:lnTo>
                  <a:pt x="1001" y="774"/>
                </a:lnTo>
                <a:lnTo>
                  <a:pt x="997" y="760"/>
                </a:lnTo>
                <a:lnTo>
                  <a:pt x="991" y="730"/>
                </a:lnTo>
                <a:lnTo>
                  <a:pt x="988" y="714"/>
                </a:lnTo>
                <a:lnTo>
                  <a:pt x="985" y="699"/>
                </a:lnTo>
                <a:lnTo>
                  <a:pt x="983" y="682"/>
                </a:lnTo>
                <a:lnTo>
                  <a:pt x="982" y="665"/>
                </a:lnTo>
                <a:lnTo>
                  <a:pt x="978" y="632"/>
                </a:lnTo>
                <a:lnTo>
                  <a:pt x="976" y="596"/>
                </a:lnTo>
                <a:lnTo>
                  <a:pt x="976" y="560"/>
                </a:lnTo>
                <a:lnTo>
                  <a:pt x="976" y="522"/>
                </a:lnTo>
                <a:lnTo>
                  <a:pt x="977" y="504"/>
                </a:lnTo>
                <a:lnTo>
                  <a:pt x="978" y="486"/>
                </a:lnTo>
                <a:lnTo>
                  <a:pt x="982" y="452"/>
                </a:lnTo>
                <a:lnTo>
                  <a:pt x="983" y="435"/>
                </a:lnTo>
                <a:lnTo>
                  <a:pt x="985" y="419"/>
                </a:lnTo>
                <a:lnTo>
                  <a:pt x="991" y="387"/>
                </a:lnTo>
                <a:lnTo>
                  <a:pt x="997" y="357"/>
                </a:lnTo>
                <a:lnTo>
                  <a:pt x="1001" y="343"/>
                </a:lnTo>
                <a:lnTo>
                  <a:pt x="1005" y="328"/>
                </a:lnTo>
                <a:lnTo>
                  <a:pt x="1014" y="301"/>
                </a:lnTo>
                <a:lnTo>
                  <a:pt x="1023" y="275"/>
                </a:lnTo>
                <a:lnTo>
                  <a:pt x="1034" y="250"/>
                </a:lnTo>
                <a:lnTo>
                  <a:pt x="1040" y="238"/>
                </a:lnTo>
                <a:lnTo>
                  <a:pt x="1045" y="227"/>
                </a:lnTo>
                <a:lnTo>
                  <a:pt x="1059" y="204"/>
                </a:lnTo>
                <a:lnTo>
                  <a:pt x="1072" y="183"/>
                </a:lnTo>
                <a:lnTo>
                  <a:pt x="1086" y="163"/>
                </a:lnTo>
                <a:lnTo>
                  <a:pt x="1101" y="145"/>
                </a:lnTo>
                <a:lnTo>
                  <a:pt x="1118" y="128"/>
                </a:lnTo>
                <a:lnTo>
                  <a:pt x="1134" y="112"/>
                </a:lnTo>
                <a:lnTo>
                  <a:pt x="1151" y="97"/>
                </a:lnTo>
                <a:lnTo>
                  <a:pt x="1161" y="90"/>
                </a:lnTo>
                <a:lnTo>
                  <a:pt x="1170" y="83"/>
                </a:lnTo>
                <a:lnTo>
                  <a:pt x="1189" y="70"/>
                </a:lnTo>
                <a:lnTo>
                  <a:pt x="1208" y="59"/>
                </a:lnTo>
                <a:lnTo>
                  <a:pt x="1229" y="49"/>
                </a:lnTo>
                <a:lnTo>
                  <a:pt x="1249" y="39"/>
                </a:lnTo>
                <a:lnTo>
                  <a:pt x="1260" y="34"/>
                </a:lnTo>
                <a:lnTo>
                  <a:pt x="1272" y="31"/>
                </a:lnTo>
                <a:lnTo>
                  <a:pt x="1293" y="23"/>
                </a:lnTo>
                <a:lnTo>
                  <a:pt x="1304" y="20"/>
                </a:lnTo>
                <a:lnTo>
                  <a:pt x="1315" y="17"/>
                </a:lnTo>
                <a:lnTo>
                  <a:pt x="1339" y="12"/>
                </a:lnTo>
                <a:lnTo>
                  <a:pt x="1362" y="7"/>
                </a:lnTo>
                <a:lnTo>
                  <a:pt x="1374" y="5"/>
                </a:lnTo>
                <a:lnTo>
                  <a:pt x="1385" y="4"/>
                </a:lnTo>
                <a:lnTo>
                  <a:pt x="1410" y="2"/>
                </a:lnTo>
                <a:lnTo>
                  <a:pt x="1434" y="1"/>
                </a:lnTo>
                <a:lnTo>
                  <a:pt x="1460" y="0"/>
                </a:lnTo>
                <a:lnTo>
                  <a:pt x="1485" y="1"/>
                </a:lnTo>
                <a:lnTo>
                  <a:pt x="1509" y="2"/>
                </a:lnTo>
                <a:lnTo>
                  <a:pt x="1534" y="4"/>
                </a:lnTo>
                <a:lnTo>
                  <a:pt x="1557" y="7"/>
                </a:lnTo>
                <a:lnTo>
                  <a:pt x="1581" y="12"/>
                </a:lnTo>
                <a:lnTo>
                  <a:pt x="1604" y="17"/>
                </a:lnTo>
                <a:lnTo>
                  <a:pt x="1626" y="23"/>
                </a:lnTo>
                <a:lnTo>
                  <a:pt x="1649" y="31"/>
                </a:lnTo>
                <a:lnTo>
                  <a:pt x="1659" y="34"/>
                </a:lnTo>
                <a:lnTo>
                  <a:pt x="1670" y="39"/>
                </a:lnTo>
                <a:lnTo>
                  <a:pt x="1691" y="49"/>
                </a:lnTo>
                <a:lnTo>
                  <a:pt x="1701" y="53"/>
                </a:lnTo>
                <a:lnTo>
                  <a:pt x="1711" y="59"/>
                </a:lnTo>
                <a:lnTo>
                  <a:pt x="1721" y="64"/>
                </a:lnTo>
                <a:lnTo>
                  <a:pt x="1730" y="70"/>
                </a:lnTo>
                <a:lnTo>
                  <a:pt x="1749" y="83"/>
                </a:lnTo>
                <a:lnTo>
                  <a:pt x="1768" y="97"/>
                </a:lnTo>
                <a:lnTo>
                  <a:pt x="1786" y="112"/>
                </a:lnTo>
                <a:lnTo>
                  <a:pt x="1794" y="120"/>
                </a:lnTo>
                <a:lnTo>
                  <a:pt x="1803" y="128"/>
                </a:lnTo>
                <a:lnTo>
                  <a:pt x="1810" y="137"/>
                </a:lnTo>
                <a:lnTo>
                  <a:pt x="1818" y="145"/>
                </a:lnTo>
                <a:lnTo>
                  <a:pt x="1826" y="154"/>
                </a:lnTo>
                <a:lnTo>
                  <a:pt x="1834" y="163"/>
                </a:lnTo>
                <a:lnTo>
                  <a:pt x="1848" y="183"/>
                </a:lnTo>
                <a:lnTo>
                  <a:pt x="1855" y="193"/>
                </a:lnTo>
                <a:lnTo>
                  <a:pt x="1862" y="204"/>
                </a:lnTo>
                <a:lnTo>
                  <a:pt x="1867" y="216"/>
                </a:lnTo>
                <a:lnTo>
                  <a:pt x="1874" y="227"/>
                </a:lnTo>
                <a:lnTo>
                  <a:pt x="1885" y="250"/>
                </a:lnTo>
                <a:lnTo>
                  <a:pt x="1896" y="275"/>
                </a:lnTo>
                <a:lnTo>
                  <a:pt x="1906" y="301"/>
                </a:lnTo>
                <a:lnTo>
                  <a:pt x="1914" y="328"/>
                </a:lnTo>
                <a:lnTo>
                  <a:pt x="1919" y="343"/>
                </a:lnTo>
                <a:lnTo>
                  <a:pt x="1922" y="357"/>
                </a:lnTo>
                <a:lnTo>
                  <a:pt x="1929" y="387"/>
                </a:lnTo>
                <a:lnTo>
                  <a:pt x="1932" y="403"/>
                </a:lnTo>
                <a:lnTo>
                  <a:pt x="1934" y="419"/>
                </a:lnTo>
                <a:lnTo>
                  <a:pt x="1936" y="435"/>
                </a:lnTo>
                <a:lnTo>
                  <a:pt x="1939" y="452"/>
                </a:lnTo>
                <a:lnTo>
                  <a:pt x="1941" y="486"/>
                </a:lnTo>
                <a:lnTo>
                  <a:pt x="1943" y="522"/>
                </a:lnTo>
                <a:lnTo>
                  <a:pt x="1944" y="560"/>
                </a:lnTo>
                <a:lnTo>
                  <a:pt x="1943" y="589"/>
                </a:lnTo>
                <a:lnTo>
                  <a:pt x="1942" y="617"/>
                </a:lnTo>
                <a:lnTo>
                  <a:pt x="1942" y="631"/>
                </a:lnTo>
                <a:lnTo>
                  <a:pt x="1244" y="631"/>
                </a:lnTo>
                <a:lnTo>
                  <a:pt x="1245" y="644"/>
                </a:lnTo>
                <a:lnTo>
                  <a:pt x="1246" y="659"/>
                </a:lnTo>
                <a:lnTo>
                  <a:pt x="1247" y="671"/>
                </a:lnTo>
                <a:lnTo>
                  <a:pt x="1249" y="684"/>
                </a:lnTo>
                <a:lnTo>
                  <a:pt x="1252" y="696"/>
                </a:lnTo>
                <a:lnTo>
                  <a:pt x="1254" y="709"/>
                </a:lnTo>
                <a:lnTo>
                  <a:pt x="1260" y="732"/>
                </a:lnTo>
                <a:lnTo>
                  <a:pt x="1265" y="743"/>
                </a:lnTo>
                <a:lnTo>
                  <a:pt x="1269" y="754"/>
                </a:lnTo>
                <a:lnTo>
                  <a:pt x="1274" y="764"/>
                </a:lnTo>
                <a:lnTo>
                  <a:pt x="1278" y="774"/>
                </a:lnTo>
                <a:lnTo>
                  <a:pt x="1284" y="784"/>
                </a:lnTo>
                <a:lnTo>
                  <a:pt x="1289" y="793"/>
                </a:lnTo>
                <a:lnTo>
                  <a:pt x="1296" y="802"/>
                </a:lnTo>
                <a:lnTo>
                  <a:pt x="1303" y="811"/>
                </a:lnTo>
                <a:lnTo>
                  <a:pt x="1310" y="819"/>
                </a:lnTo>
                <a:lnTo>
                  <a:pt x="1316" y="827"/>
                </a:lnTo>
                <a:lnTo>
                  <a:pt x="1324" y="833"/>
                </a:lnTo>
                <a:lnTo>
                  <a:pt x="1332" y="840"/>
                </a:lnTo>
                <a:lnTo>
                  <a:pt x="1341" y="846"/>
                </a:lnTo>
                <a:lnTo>
                  <a:pt x="1350" y="851"/>
                </a:lnTo>
                <a:lnTo>
                  <a:pt x="1359" y="857"/>
                </a:lnTo>
                <a:lnTo>
                  <a:pt x="1369" y="861"/>
                </a:lnTo>
                <a:lnTo>
                  <a:pt x="1379" y="865"/>
                </a:lnTo>
                <a:lnTo>
                  <a:pt x="1389" y="869"/>
                </a:lnTo>
                <a:lnTo>
                  <a:pt x="1400" y="871"/>
                </a:lnTo>
                <a:lnTo>
                  <a:pt x="1411" y="875"/>
                </a:lnTo>
                <a:lnTo>
                  <a:pt x="1422" y="876"/>
                </a:lnTo>
                <a:lnTo>
                  <a:pt x="1434" y="878"/>
                </a:lnTo>
                <a:lnTo>
                  <a:pt x="1447" y="878"/>
                </a:lnTo>
                <a:lnTo>
                  <a:pt x="1459" y="879"/>
                </a:lnTo>
                <a:lnTo>
                  <a:pt x="1469" y="879"/>
                </a:lnTo>
                <a:lnTo>
                  <a:pt x="1479" y="878"/>
                </a:lnTo>
                <a:lnTo>
                  <a:pt x="1489" y="877"/>
                </a:lnTo>
                <a:lnTo>
                  <a:pt x="1498" y="876"/>
                </a:lnTo>
                <a:lnTo>
                  <a:pt x="1507" y="875"/>
                </a:lnTo>
                <a:lnTo>
                  <a:pt x="1516" y="872"/>
                </a:lnTo>
                <a:lnTo>
                  <a:pt x="1534" y="868"/>
                </a:lnTo>
                <a:lnTo>
                  <a:pt x="1549" y="862"/>
                </a:lnTo>
                <a:lnTo>
                  <a:pt x="1557" y="859"/>
                </a:lnTo>
                <a:lnTo>
                  <a:pt x="1565" y="856"/>
                </a:lnTo>
                <a:lnTo>
                  <a:pt x="1578" y="848"/>
                </a:lnTo>
                <a:lnTo>
                  <a:pt x="1585" y="845"/>
                </a:lnTo>
                <a:lnTo>
                  <a:pt x="1592" y="840"/>
                </a:lnTo>
                <a:lnTo>
                  <a:pt x="1604" y="831"/>
                </a:lnTo>
                <a:lnTo>
                  <a:pt x="1615" y="821"/>
                </a:lnTo>
                <a:lnTo>
                  <a:pt x="1625" y="811"/>
                </a:lnTo>
                <a:lnTo>
                  <a:pt x="1634" y="801"/>
                </a:lnTo>
                <a:lnTo>
                  <a:pt x="1642" y="790"/>
                </a:lnTo>
                <a:lnTo>
                  <a:pt x="1649" y="779"/>
                </a:lnTo>
                <a:lnTo>
                  <a:pt x="1652" y="773"/>
                </a:lnTo>
                <a:lnTo>
                  <a:pt x="1654" y="768"/>
                </a:lnTo>
                <a:lnTo>
                  <a:pt x="1660" y="757"/>
                </a:lnTo>
                <a:lnTo>
                  <a:pt x="1931" y="752"/>
                </a:lnTo>
                <a:lnTo>
                  <a:pt x="1929" y="765"/>
                </a:lnTo>
                <a:close/>
                <a:moveTo>
                  <a:pt x="1460" y="216"/>
                </a:moveTo>
                <a:lnTo>
                  <a:pt x="1449" y="217"/>
                </a:lnTo>
                <a:lnTo>
                  <a:pt x="1437" y="218"/>
                </a:lnTo>
                <a:lnTo>
                  <a:pt x="1426" y="219"/>
                </a:lnTo>
                <a:lnTo>
                  <a:pt x="1414" y="221"/>
                </a:lnTo>
                <a:lnTo>
                  <a:pt x="1404" y="223"/>
                </a:lnTo>
                <a:lnTo>
                  <a:pt x="1394" y="227"/>
                </a:lnTo>
                <a:lnTo>
                  <a:pt x="1384" y="230"/>
                </a:lnTo>
                <a:lnTo>
                  <a:pt x="1375" y="233"/>
                </a:lnTo>
                <a:lnTo>
                  <a:pt x="1366" y="238"/>
                </a:lnTo>
                <a:lnTo>
                  <a:pt x="1359" y="243"/>
                </a:lnTo>
                <a:lnTo>
                  <a:pt x="1351" y="248"/>
                </a:lnTo>
                <a:lnTo>
                  <a:pt x="1343" y="253"/>
                </a:lnTo>
                <a:lnTo>
                  <a:pt x="1335" y="259"/>
                </a:lnTo>
                <a:lnTo>
                  <a:pt x="1329" y="266"/>
                </a:lnTo>
                <a:lnTo>
                  <a:pt x="1316" y="278"/>
                </a:lnTo>
                <a:lnTo>
                  <a:pt x="1310" y="285"/>
                </a:lnTo>
                <a:lnTo>
                  <a:pt x="1305" y="291"/>
                </a:lnTo>
                <a:lnTo>
                  <a:pt x="1295" y="306"/>
                </a:lnTo>
                <a:lnTo>
                  <a:pt x="1286" y="320"/>
                </a:lnTo>
                <a:lnTo>
                  <a:pt x="1279" y="335"/>
                </a:lnTo>
                <a:lnTo>
                  <a:pt x="1273" y="349"/>
                </a:lnTo>
                <a:lnTo>
                  <a:pt x="1268" y="364"/>
                </a:lnTo>
                <a:lnTo>
                  <a:pt x="1265" y="377"/>
                </a:lnTo>
                <a:lnTo>
                  <a:pt x="1263" y="390"/>
                </a:lnTo>
                <a:lnTo>
                  <a:pt x="1262" y="412"/>
                </a:lnTo>
                <a:lnTo>
                  <a:pt x="1661" y="412"/>
                </a:lnTo>
                <a:lnTo>
                  <a:pt x="1661" y="390"/>
                </a:lnTo>
                <a:lnTo>
                  <a:pt x="1658" y="377"/>
                </a:lnTo>
                <a:lnTo>
                  <a:pt x="1654" y="364"/>
                </a:lnTo>
                <a:lnTo>
                  <a:pt x="1650" y="349"/>
                </a:lnTo>
                <a:lnTo>
                  <a:pt x="1643" y="335"/>
                </a:lnTo>
                <a:lnTo>
                  <a:pt x="1636" y="320"/>
                </a:lnTo>
                <a:lnTo>
                  <a:pt x="1627" y="306"/>
                </a:lnTo>
                <a:lnTo>
                  <a:pt x="1617" y="291"/>
                </a:lnTo>
                <a:lnTo>
                  <a:pt x="1612" y="285"/>
                </a:lnTo>
                <a:lnTo>
                  <a:pt x="1606" y="278"/>
                </a:lnTo>
                <a:lnTo>
                  <a:pt x="1600" y="271"/>
                </a:lnTo>
                <a:lnTo>
                  <a:pt x="1593" y="266"/>
                </a:lnTo>
                <a:lnTo>
                  <a:pt x="1586" y="259"/>
                </a:lnTo>
                <a:lnTo>
                  <a:pt x="1578" y="253"/>
                </a:lnTo>
                <a:lnTo>
                  <a:pt x="1563" y="243"/>
                </a:lnTo>
                <a:lnTo>
                  <a:pt x="1555" y="238"/>
                </a:lnTo>
                <a:lnTo>
                  <a:pt x="1546" y="233"/>
                </a:lnTo>
                <a:lnTo>
                  <a:pt x="1537" y="230"/>
                </a:lnTo>
                <a:lnTo>
                  <a:pt x="1527" y="227"/>
                </a:lnTo>
                <a:lnTo>
                  <a:pt x="1517" y="223"/>
                </a:lnTo>
                <a:lnTo>
                  <a:pt x="1507" y="221"/>
                </a:lnTo>
                <a:lnTo>
                  <a:pt x="1496" y="219"/>
                </a:lnTo>
                <a:lnTo>
                  <a:pt x="1485" y="218"/>
                </a:lnTo>
                <a:lnTo>
                  <a:pt x="1472" y="217"/>
                </a:lnTo>
                <a:lnTo>
                  <a:pt x="1460" y="216"/>
                </a:lnTo>
                <a:close/>
                <a:moveTo>
                  <a:pt x="5407" y="410"/>
                </a:moveTo>
                <a:lnTo>
                  <a:pt x="5713" y="410"/>
                </a:lnTo>
                <a:lnTo>
                  <a:pt x="5713" y="368"/>
                </a:lnTo>
                <a:lnTo>
                  <a:pt x="5712" y="356"/>
                </a:lnTo>
                <a:lnTo>
                  <a:pt x="5710" y="344"/>
                </a:lnTo>
                <a:lnTo>
                  <a:pt x="5707" y="331"/>
                </a:lnTo>
                <a:lnTo>
                  <a:pt x="5702" y="320"/>
                </a:lnTo>
                <a:lnTo>
                  <a:pt x="5697" y="308"/>
                </a:lnTo>
                <a:lnTo>
                  <a:pt x="5693" y="302"/>
                </a:lnTo>
                <a:lnTo>
                  <a:pt x="5690" y="297"/>
                </a:lnTo>
                <a:lnTo>
                  <a:pt x="5681" y="286"/>
                </a:lnTo>
                <a:lnTo>
                  <a:pt x="5671" y="276"/>
                </a:lnTo>
                <a:lnTo>
                  <a:pt x="5660" y="267"/>
                </a:lnTo>
                <a:lnTo>
                  <a:pt x="5654" y="262"/>
                </a:lnTo>
                <a:lnTo>
                  <a:pt x="5648" y="258"/>
                </a:lnTo>
                <a:lnTo>
                  <a:pt x="5641" y="255"/>
                </a:lnTo>
                <a:lnTo>
                  <a:pt x="5633" y="251"/>
                </a:lnTo>
                <a:lnTo>
                  <a:pt x="5619" y="245"/>
                </a:lnTo>
                <a:lnTo>
                  <a:pt x="5602" y="239"/>
                </a:lnTo>
                <a:lnTo>
                  <a:pt x="5583" y="236"/>
                </a:lnTo>
                <a:lnTo>
                  <a:pt x="5574" y="233"/>
                </a:lnTo>
                <a:lnTo>
                  <a:pt x="5564" y="233"/>
                </a:lnTo>
                <a:lnTo>
                  <a:pt x="5553" y="232"/>
                </a:lnTo>
                <a:lnTo>
                  <a:pt x="5543" y="232"/>
                </a:lnTo>
                <a:lnTo>
                  <a:pt x="5520" y="232"/>
                </a:lnTo>
                <a:lnTo>
                  <a:pt x="5499" y="233"/>
                </a:lnTo>
                <a:lnTo>
                  <a:pt x="5481" y="236"/>
                </a:lnTo>
                <a:lnTo>
                  <a:pt x="5465" y="238"/>
                </a:lnTo>
                <a:lnTo>
                  <a:pt x="5449" y="241"/>
                </a:lnTo>
                <a:lnTo>
                  <a:pt x="5436" y="246"/>
                </a:lnTo>
                <a:lnTo>
                  <a:pt x="5423" y="251"/>
                </a:lnTo>
                <a:lnTo>
                  <a:pt x="5419" y="253"/>
                </a:lnTo>
                <a:lnTo>
                  <a:pt x="5413" y="257"/>
                </a:lnTo>
                <a:lnTo>
                  <a:pt x="5403" y="263"/>
                </a:lnTo>
                <a:lnTo>
                  <a:pt x="5399" y="267"/>
                </a:lnTo>
                <a:lnTo>
                  <a:pt x="5396" y="270"/>
                </a:lnTo>
                <a:lnTo>
                  <a:pt x="5388" y="278"/>
                </a:lnTo>
                <a:lnTo>
                  <a:pt x="5381" y="287"/>
                </a:lnTo>
                <a:lnTo>
                  <a:pt x="5375" y="296"/>
                </a:lnTo>
                <a:lnTo>
                  <a:pt x="5371" y="306"/>
                </a:lnTo>
                <a:lnTo>
                  <a:pt x="5367" y="317"/>
                </a:lnTo>
                <a:lnTo>
                  <a:pt x="5362" y="328"/>
                </a:lnTo>
                <a:lnTo>
                  <a:pt x="5360" y="336"/>
                </a:lnTo>
                <a:lnTo>
                  <a:pt x="5100" y="336"/>
                </a:lnTo>
                <a:lnTo>
                  <a:pt x="5103" y="320"/>
                </a:lnTo>
                <a:lnTo>
                  <a:pt x="5109" y="298"/>
                </a:lnTo>
                <a:lnTo>
                  <a:pt x="5116" y="276"/>
                </a:lnTo>
                <a:lnTo>
                  <a:pt x="5123" y="255"/>
                </a:lnTo>
                <a:lnTo>
                  <a:pt x="5131" y="235"/>
                </a:lnTo>
                <a:lnTo>
                  <a:pt x="5135" y="225"/>
                </a:lnTo>
                <a:lnTo>
                  <a:pt x="5139" y="216"/>
                </a:lnTo>
                <a:lnTo>
                  <a:pt x="5148" y="198"/>
                </a:lnTo>
                <a:lnTo>
                  <a:pt x="5157" y="181"/>
                </a:lnTo>
                <a:lnTo>
                  <a:pt x="5167" y="164"/>
                </a:lnTo>
                <a:lnTo>
                  <a:pt x="5177" y="149"/>
                </a:lnTo>
                <a:lnTo>
                  <a:pt x="5188" y="134"/>
                </a:lnTo>
                <a:lnTo>
                  <a:pt x="5194" y="128"/>
                </a:lnTo>
                <a:lnTo>
                  <a:pt x="5199" y="121"/>
                </a:lnTo>
                <a:lnTo>
                  <a:pt x="5206" y="115"/>
                </a:lnTo>
                <a:lnTo>
                  <a:pt x="5211" y="109"/>
                </a:lnTo>
                <a:lnTo>
                  <a:pt x="5224" y="97"/>
                </a:lnTo>
                <a:lnTo>
                  <a:pt x="5237" y="87"/>
                </a:lnTo>
                <a:lnTo>
                  <a:pt x="5251" y="75"/>
                </a:lnTo>
                <a:lnTo>
                  <a:pt x="5264" y="66"/>
                </a:lnTo>
                <a:lnTo>
                  <a:pt x="5278" y="58"/>
                </a:lnTo>
                <a:lnTo>
                  <a:pt x="5293" y="50"/>
                </a:lnTo>
                <a:lnTo>
                  <a:pt x="5309" y="42"/>
                </a:lnTo>
                <a:lnTo>
                  <a:pt x="5324" y="35"/>
                </a:lnTo>
                <a:lnTo>
                  <a:pt x="5340" y="30"/>
                </a:lnTo>
                <a:lnTo>
                  <a:pt x="5356" y="24"/>
                </a:lnTo>
                <a:lnTo>
                  <a:pt x="5373" y="20"/>
                </a:lnTo>
                <a:lnTo>
                  <a:pt x="5390" y="15"/>
                </a:lnTo>
                <a:lnTo>
                  <a:pt x="5408" y="12"/>
                </a:lnTo>
                <a:lnTo>
                  <a:pt x="5427" y="9"/>
                </a:lnTo>
                <a:lnTo>
                  <a:pt x="5445" y="6"/>
                </a:lnTo>
                <a:lnTo>
                  <a:pt x="5464" y="4"/>
                </a:lnTo>
                <a:lnTo>
                  <a:pt x="5483" y="3"/>
                </a:lnTo>
                <a:lnTo>
                  <a:pt x="5503" y="2"/>
                </a:lnTo>
                <a:lnTo>
                  <a:pt x="5523" y="1"/>
                </a:lnTo>
                <a:lnTo>
                  <a:pt x="5543" y="1"/>
                </a:lnTo>
                <a:lnTo>
                  <a:pt x="5565" y="1"/>
                </a:lnTo>
                <a:lnTo>
                  <a:pt x="5586" y="2"/>
                </a:lnTo>
                <a:lnTo>
                  <a:pt x="5609" y="4"/>
                </a:lnTo>
                <a:lnTo>
                  <a:pt x="5630" y="7"/>
                </a:lnTo>
                <a:lnTo>
                  <a:pt x="5650" y="12"/>
                </a:lnTo>
                <a:lnTo>
                  <a:pt x="5670" y="16"/>
                </a:lnTo>
                <a:lnTo>
                  <a:pt x="5690" y="22"/>
                </a:lnTo>
                <a:lnTo>
                  <a:pt x="5710" y="28"/>
                </a:lnTo>
                <a:lnTo>
                  <a:pt x="5729" y="35"/>
                </a:lnTo>
                <a:lnTo>
                  <a:pt x="5747" y="43"/>
                </a:lnTo>
                <a:lnTo>
                  <a:pt x="5765" y="51"/>
                </a:lnTo>
                <a:lnTo>
                  <a:pt x="5783" y="60"/>
                </a:lnTo>
                <a:lnTo>
                  <a:pt x="5799" y="70"/>
                </a:lnTo>
                <a:lnTo>
                  <a:pt x="5815" y="81"/>
                </a:lnTo>
                <a:lnTo>
                  <a:pt x="5831" y="92"/>
                </a:lnTo>
                <a:lnTo>
                  <a:pt x="5846" y="104"/>
                </a:lnTo>
                <a:lnTo>
                  <a:pt x="5860" y="117"/>
                </a:lnTo>
                <a:lnTo>
                  <a:pt x="5873" y="130"/>
                </a:lnTo>
                <a:lnTo>
                  <a:pt x="5886" y="143"/>
                </a:lnTo>
                <a:lnTo>
                  <a:pt x="5897" y="158"/>
                </a:lnTo>
                <a:lnTo>
                  <a:pt x="5909" y="172"/>
                </a:lnTo>
                <a:lnTo>
                  <a:pt x="5919" y="188"/>
                </a:lnTo>
                <a:lnTo>
                  <a:pt x="5929" y="203"/>
                </a:lnTo>
                <a:lnTo>
                  <a:pt x="5937" y="220"/>
                </a:lnTo>
                <a:lnTo>
                  <a:pt x="5941" y="229"/>
                </a:lnTo>
                <a:lnTo>
                  <a:pt x="5944" y="237"/>
                </a:lnTo>
                <a:lnTo>
                  <a:pt x="5948" y="246"/>
                </a:lnTo>
                <a:lnTo>
                  <a:pt x="5951" y="255"/>
                </a:lnTo>
                <a:lnTo>
                  <a:pt x="5957" y="272"/>
                </a:lnTo>
                <a:lnTo>
                  <a:pt x="5962" y="290"/>
                </a:lnTo>
                <a:lnTo>
                  <a:pt x="5963" y="300"/>
                </a:lnTo>
                <a:lnTo>
                  <a:pt x="5966" y="309"/>
                </a:lnTo>
                <a:lnTo>
                  <a:pt x="5968" y="329"/>
                </a:lnTo>
                <a:lnTo>
                  <a:pt x="5970" y="348"/>
                </a:lnTo>
                <a:lnTo>
                  <a:pt x="5970" y="368"/>
                </a:lnTo>
                <a:lnTo>
                  <a:pt x="5971" y="492"/>
                </a:lnTo>
                <a:lnTo>
                  <a:pt x="5970" y="616"/>
                </a:lnTo>
                <a:lnTo>
                  <a:pt x="5970" y="1093"/>
                </a:lnTo>
                <a:lnTo>
                  <a:pt x="5728" y="1093"/>
                </a:lnTo>
                <a:lnTo>
                  <a:pt x="5628" y="1093"/>
                </a:lnTo>
                <a:lnTo>
                  <a:pt x="5525" y="1093"/>
                </a:lnTo>
                <a:lnTo>
                  <a:pt x="5407" y="1093"/>
                </a:lnTo>
                <a:lnTo>
                  <a:pt x="5388" y="1093"/>
                </a:lnTo>
                <a:lnTo>
                  <a:pt x="5369" y="1092"/>
                </a:lnTo>
                <a:lnTo>
                  <a:pt x="5351" y="1089"/>
                </a:lnTo>
                <a:lnTo>
                  <a:pt x="5333" y="1087"/>
                </a:lnTo>
                <a:lnTo>
                  <a:pt x="5315" y="1084"/>
                </a:lnTo>
                <a:lnTo>
                  <a:pt x="5298" y="1079"/>
                </a:lnTo>
                <a:lnTo>
                  <a:pt x="5282" y="1075"/>
                </a:lnTo>
                <a:lnTo>
                  <a:pt x="5265" y="1069"/>
                </a:lnTo>
                <a:lnTo>
                  <a:pt x="5249" y="1064"/>
                </a:lnTo>
                <a:lnTo>
                  <a:pt x="5234" y="1056"/>
                </a:lnTo>
                <a:lnTo>
                  <a:pt x="5218" y="1049"/>
                </a:lnTo>
                <a:lnTo>
                  <a:pt x="5204" y="1040"/>
                </a:lnTo>
                <a:lnTo>
                  <a:pt x="5189" y="1032"/>
                </a:lnTo>
                <a:lnTo>
                  <a:pt x="5176" y="1023"/>
                </a:lnTo>
                <a:lnTo>
                  <a:pt x="5162" y="1013"/>
                </a:lnTo>
                <a:lnTo>
                  <a:pt x="5150" y="1001"/>
                </a:lnTo>
                <a:lnTo>
                  <a:pt x="5138" y="990"/>
                </a:lnTo>
                <a:lnTo>
                  <a:pt x="5127" y="979"/>
                </a:lnTo>
                <a:lnTo>
                  <a:pt x="5117" y="967"/>
                </a:lnTo>
                <a:lnTo>
                  <a:pt x="5107" y="954"/>
                </a:lnTo>
                <a:lnTo>
                  <a:pt x="5097" y="940"/>
                </a:lnTo>
                <a:lnTo>
                  <a:pt x="5089" y="927"/>
                </a:lnTo>
                <a:lnTo>
                  <a:pt x="5080" y="912"/>
                </a:lnTo>
                <a:lnTo>
                  <a:pt x="5073" y="898"/>
                </a:lnTo>
                <a:lnTo>
                  <a:pt x="5066" y="882"/>
                </a:lnTo>
                <a:lnTo>
                  <a:pt x="5061" y="867"/>
                </a:lnTo>
                <a:lnTo>
                  <a:pt x="5056" y="850"/>
                </a:lnTo>
                <a:lnTo>
                  <a:pt x="5052" y="833"/>
                </a:lnTo>
                <a:lnTo>
                  <a:pt x="5049" y="817"/>
                </a:lnTo>
                <a:lnTo>
                  <a:pt x="5046" y="800"/>
                </a:lnTo>
                <a:lnTo>
                  <a:pt x="5045" y="782"/>
                </a:lnTo>
                <a:lnTo>
                  <a:pt x="5045" y="763"/>
                </a:lnTo>
                <a:lnTo>
                  <a:pt x="5045" y="745"/>
                </a:lnTo>
                <a:lnTo>
                  <a:pt x="5046" y="728"/>
                </a:lnTo>
                <a:lnTo>
                  <a:pt x="5049" y="710"/>
                </a:lnTo>
                <a:lnTo>
                  <a:pt x="5052" y="693"/>
                </a:lnTo>
                <a:lnTo>
                  <a:pt x="5056" y="675"/>
                </a:lnTo>
                <a:lnTo>
                  <a:pt x="5061" y="659"/>
                </a:lnTo>
                <a:lnTo>
                  <a:pt x="5066" y="642"/>
                </a:lnTo>
                <a:lnTo>
                  <a:pt x="5073" y="626"/>
                </a:lnTo>
                <a:lnTo>
                  <a:pt x="5080" y="611"/>
                </a:lnTo>
                <a:lnTo>
                  <a:pt x="5088" y="595"/>
                </a:lnTo>
                <a:lnTo>
                  <a:pt x="5097" y="581"/>
                </a:lnTo>
                <a:lnTo>
                  <a:pt x="5106" y="566"/>
                </a:lnTo>
                <a:lnTo>
                  <a:pt x="5116" y="553"/>
                </a:lnTo>
                <a:lnTo>
                  <a:pt x="5127" y="540"/>
                </a:lnTo>
                <a:lnTo>
                  <a:pt x="5138" y="526"/>
                </a:lnTo>
                <a:lnTo>
                  <a:pt x="5150" y="514"/>
                </a:lnTo>
                <a:lnTo>
                  <a:pt x="5162" y="503"/>
                </a:lnTo>
                <a:lnTo>
                  <a:pt x="5176" y="492"/>
                </a:lnTo>
                <a:lnTo>
                  <a:pt x="5189" y="481"/>
                </a:lnTo>
                <a:lnTo>
                  <a:pt x="5203" y="472"/>
                </a:lnTo>
                <a:lnTo>
                  <a:pt x="5218" y="462"/>
                </a:lnTo>
                <a:lnTo>
                  <a:pt x="5233" y="454"/>
                </a:lnTo>
                <a:lnTo>
                  <a:pt x="5248" y="446"/>
                </a:lnTo>
                <a:lnTo>
                  <a:pt x="5265" y="438"/>
                </a:lnTo>
                <a:lnTo>
                  <a:pt x="5281" y="433"/>
                </a:lnTo>
                <a:lnTo>
                  <a:pt x="5298" y="427"/>
                </a:lnTo>
                <a:lnTo>
                  <a:pt x="5315" y="422"/>
                </a:lnTo>
                <a:lnTo>
                  <a:pt x="5333" y="418"/>
                </a:lnTo>
                <a:lnTo>
                  <a:pt x="5351" y="415"/>
                </a:lnTo>
                <a:lnTo>
                  <a:pt x="5369" y="413"/>
                </a:lnTo>
                <a:lnTo>
                  <a:pt x="5388" y="412"/>
                </a:lnTo>
                <a:lnTo>
                  <a:pt x="5407" y="410"/>
                </a:lnTo>
                <a:close/>
                <a:moveTo>
                  <a:pt x="5713" y="835"/>
                </a:moveTo>
                <a:lnTo>
                  <a:pt x="5712" y="750"/>
                </a:lnTo>
                <a:lnTo>
                  <a:pt x="5712" y="634"/>
                </a:lnTo>
                <a:lnTo>
                  <a:pt x="5428" y="634"/>
                </a:lnTo>
                <a:lnTo>
                  <a:pt x="5413" y="634"/>
                </a:lnTo>
                <a:lnTo>
                  <a:pt x="5407" y="635"/>
                </a:lnTo>
                <a:lnTo>
                  <a:pt x="5400" y="636"/>
                </a:lnTo>
                <a:lnTo>
                  <a:pt x="5388" y="640"/>
                </a:lnTo>
                <a:lnTo>
                  <a:pt x="5382" y="641"/>
                </a:lnTo>
                <a:lnTo>
                  <a:pt x="5375" y="643"/>
                </a:lnTo>
                <a:lnTo>
                  <a:pt x="5365" y="649"/>
                </a:lnTo>
                <a:lnTo>
                  <a:pt x="5354" y="655"/>
                </a:lnTo>
                <a:lnTo>
                  <a:pt x="5345" y="662"/>
                </a:lnTo>
                <a:lnTo>
                  <a:pt x="5336" y="670"/>
                </a:lnTo>
                <a:lnTo>
                  <a:pt x="5333" y="674"/>
                </a:lnTo>
                <a:lnTo>
                  <a:pt x="5329" y="679"/>
                </a:lnTo>
                <a:lnTo>
                  <a:pt x="5322" y="688"/>
                </a:lnTo>
                <a:lnTo>
                  <a:pt x="5316" y="696"/>
                </a:lnTo>
                <a:lnTo>
                  <a:pt x="5312" y="708"/>
                </a:lnTo>
                <a:lnTo>
                  <a:pt x="5309" y="718"/>
                </a:lnTo>
                <a:lnTo>
                  <a:pt x="5305" y="729"/>
                </a:lnTo>
                <a:lnTo>
                  <a:pt x="5304" y="739"/>
                </a:lnTo>
                <a:lnTo>
                  <a:pt x="5303" y="750"/>
                </a:lnTo>
                <a:lnTo>
                  <a:pt x="5304" y="761"/>
                </a:lnTo>
                <a:lnTo>
                  <a:pt x="5305" y="772"/>
                </a:lnTo>
                <a:lnTo>
                  <a:pt x="5309" y="783"/>
                </a:lnTo>
                <a:lnTo>
                  <a:pt x="5312" y="793"/>
                </a:lnTo>
                <a:lnTo>
                  <a:pt x="5316" y="803"/>
                </a:lnTo>
                <a:lnTo>
                  <a:pt x="5320" y="808"/>
                </a:lnTo>
                <a:lnTo>
                  <a:pt x="5322" y="812"/>
                </a:lnTo>
                <a:lnTo>
                  <a:pt x="5329" y="822"/>
                </a:lnTo>
                <a:lnTo>
                  <a:pt x="5336" y="830"/>
                </a:lnTo>
                <a:lnTo>
                  <a:pt x="5345" y="838"/>
                </a:lnTo>
                <a:lnTo>
                  <a:pt x="5354" y="845"/>
                </a:lnTo>
                <a:lnTo>
                  <a:pt x="5364" y="851"/>
                </a:lnTo>
                <a:lnTo>
                  <a:pt x="5375" y="857"/>
                </a:lnTo>
                <a:lnTo>
                  <a:pt x="5388" y="861"/>
                </a:lnTo>
                <a:lnTo>
                  <a:pt x="5400" y="863"/>
                </a:lnTo>
                <a:lnTo>
                  <a:pt x="5407" y="865"/>
                </a:lnTo>
                <a:lnTo>
                  <a:pt x="5413" y="866"/>
                </a:lnTo>
                <a:lnTo>
                  <a:pt x="5428" y="867"/>
                </a:lnTo>
                <a:lnTo>
                  <a:pt x="5713" y="867"/>
                </a:lnTo>
                <a:lnTo>
                  <a:pt x="5713" y="835"/>
                </a:lnTo>
                <a:close/>
                <a:moveTo>
                  <a:pt x="254" y="405"/>
                </a:moveTo>
                <a:lnTo>
                  <a:pt x="260" y="404"/>
                </a:lnTo>
                <a:lnTo>
                  <a:pt x="271" y="400"/>
                </a:lnTo>
                <a:lnTo>
                  <a:pt x="282" y="397"/>
                </a:lnTo>
                <a:lnTo>
                  <a:pt x="305" y="390"/>
                </a:lnTo>
                <a:lnTo>
                  <a:pt x="325" y="381"/>
                </a:lnTo>
                <a:lnTo>
                  <a:pt x="345" y="371"/>
                </a:lnTo>
                <a:lnTo>
                  <a:pt x="364" y="360"/>
                </a:lnTo>
                <a:lnTo>
                  <a:pt x="383" y="349"/>
                </a:lnTo>
                <a:lnTo>
                  <a:pt x="399" y="336"/>
                </a:lnTo>
                <a:lnTo>
                  <a:pt x="416" y="322"/>
                </a:lnTo>
                <a:lnTo>
                  <a:pt x="432" y="308"/>
                </a:lnTo>
                <a:lnTo>
                  <a:pt x="447" y="294"/>
                </a:lnTo>
                <a:lnTo>
                  <a:pt x="462" y="279"/>
                </a:lnTo>
                <a:lnTo>
                  <a:pt x="468" y="271"/>
                </a:lnTo>
                <a:lnTo>
                  <a:pt x="475" y="263"/>
                </a:lnTo>
                <a:lnTo>
                  <a:pt x="487" y="247"/>
                </a:lnTo>
                <a:lnTo>
                  <a:pt x="500" y="231"/>
                </a:lnTo>
                <a:lnTo>
                  <a:pt x="511" y="216"/>
                </a:lnTo>
                <a:lnTo>
                  <a:pt x="521" y="199"/>
                </a:lnTo>
                <a:lnTo>
                  <a:pt x="540" y="168"/>
                </a:lnTo>
                <a:lnTo>
                  <a:pt x="557" y="138"/>
                </a:lnTo>
                <a:lnTo>
                  <a:pt x="570" y="111"/>
                </a:lnTo>
                <a:lnTo>
                  <a:pt x="580" y="87"/>
                </a:lnTo>
                <a:lnTo>
                  <a:pt x="589" y="65"/>
                </a:lnTo>
                <a:lnTo>
                  <a:pt x="595" y="50"/>
                </a:lnTo>
                <a:lnTo>
                  <a:pt x="599" y="35"/>
                </a:lnTo>
                <a:lnTo>
                  <a:pt x="605" y="20"/>
                </a:lnTo>
                <a:lnTo>
                  <a:pt x="843" y="20"/>
                </a:lnTo>
                <a:lnTo>
                  <a:pt x="840" y="42"/>
                </a:lnTo>
                <a:lnTo>
                  <a:pt x="837" y="58"/>
                </a:lnTo>
                <a:lnTo>
                  <a:pt x="833" y="75"/>
                </a:lnTo>
                <a:lnTo>
                  <a:pt x="827" y="99"/>
                </a:lnTo>
                <a:lnTo>
                  <a:pt x="819" y="127"/>
                </a:lnTo>
                <a:lnTo>
                  <a:pt x="809" y="160"/>
                </a:lnTo>
                <a:lnTo>
                  <a:pt x="802" y="178"/>
                </a:lnTo>
                <a:lnTo>
                  <a:pt x="794" y="196"/>
                </a:lnTo>
                <a:lnTo>
                  <a:pt x="786" y="215"/>
                </a:lnTo>
                <a:lnTo>
                  <a:pt x="777" y="235"/>
                </a:lnTo>
                <a:lnTo>
                  <a:pt x="769" y="253"/>
                </a:lnTo>
                <a:lnTo>
                  <a:pt x="760" y="274"/>
                </a:lnTo>
                <a:lnTo>
                  <a:pt x="748" y="292"/>
                </a:lnTo>
                <a:lnTo>
                  <a:pt x="737" y="312"/>
                </a:lnTo>
                <a:lnTo>
                  <a:pt x="725" y="332"/>
                </a:lnTo>
                <a:lnTo>
                  <a:pt x="712" y="353"/>
                </a:lnTo>
                <a:lnTo>
                  <a:pt x="697" y="373"/>
                </a:lnTo>
                <a:lnTo>
                  <a:pt x="682" y="393"/>
                </a:lnTo>
                <a:lnTo>
                  <a:pt x="666" y="413"/>
                </a:lnTo>
                <a:lnTo>
                  <a:pt x="648" y="433"/>
                </a:lnTo>
                <a:lnTo>
                  <a:pt x="630" y="452"/>
                </a:lnTo>
                <a:lnTo>
                  <a:pt x="610" y="471"/>
                </a:lnTo>
                <a:lnTo>
                  <a:pt x="590" y="489"/>
                </a:lnTo>
                <a:lnTo>
                  <a:pt x="579" y="498"/>
                </a:lnTo>
                <a:lnTo>
                  <a:pt x="568" y="507"/>
                </a:lnTo>
                <a:lnTo>
                  <a:pt x="545" y="524"/>
                </a:lnTo>
                <a:lnTo>
                  <a:pt x="521" y="541"/>
                </a:lnTo>
                <a:lnTo>
                  <a:pt x="514" y="545"/>
                </a:lnTo>
                <a:lnTo>
                  <a:pt x="521" y="548"/>
                </a:lnTo>
                <a:lnTo>
                  <a:pt x="545" y="565"/>
                </a:lnTo>
                <a:lnTo>
                  <a:pt x="569" y="584"/>
                </a:lnTo>
                <a:lnTo>
                  <a:pt x="591" y="602"/>
                </a:lnTo>
                <a:lnTo>
                  <a:pt x="612" y="622"/>
                </a:lnTo>
                <a:lnTo>
                  <a:pt x="632" y="641"/>
                </a:lnTo>
                <a:lnTo>
                  <a:pt x="641" y="651"/>
                </a:lnTo>
                <a:lnTo>
                  <a:pt x="651" y="661"/>
                </a:lnTo>
                <a:lnTo>
                  <a:pt x="660" y="672"/>
                </a:lnTo>
                <a:lnTo>
                  <a:pt x="668" y="682"/>
                </a:lnTo>
                <a:lnTo>
                  <a:pt x="685" y="703"/>
                </a:lnTo>
                <a:lnTo>
                  <a:pt x="701" y="724"/>
                </a:lnTo>
                <a:lnTo>
                  <a:pt x="715" y="745"/>
                </a:lnTo>
                <a:lnTo>
                  <a:pt x="728" y="767"/>
                </a:lnTo>
                <a:lnTo>
                  <a:pt x="742" y="788"/>
                </a:lnTo>
                <a:lnTo>
                  <a:pt x="753" y="809"/>
                </a:lnTo>
                <a:lnTo>
                  <a:pt x="764" y="829"/>
                </a:lnTo>
                <a:lnTo>
                  <a:pt x="774" y="850"/>
                </a:lnTo>
                <a:lnTo>
                  <a:pt x="783" y="870"/>
                </a:lnTo>
                <a:lnTo>
                  <a:pt x="792" y="890"/>
                </a:lnTo>
                <a:lnTo>
                  <a:pt x="801" y="911"/>
                </a:lnTo>
                <a:lnTo>
                  <a:pt x="808" y="930"/>
                </a:lnTo>
                <a:lnTo>
                  <a:pt x="814" y="949"/>
                </a:lnTo>
                <a:lnTo>
                  <a:pt x="820" y="967"/>
                </a:lnTo>
                <a:lnTo>
                  <a:pt x="825" y="984"/>
                </a:lnTo>
                <a:lnTo>
                  <a:pt x="833" y="1014"/>
                </a:lnTo>
                <a:lnTo>
                  <a:pt x="839" y="1038"/>
                </a:lnTo>
                <a:lnTo>
                  <a:pt x="843" y="1057"/>
                </a:lnTo>
                <a:lnTo>
                  <a:pt x="846" y="1074"/>
                </a:lnTo>
                <a:lnTo>
                  <a:pt x="849" y="1093"/>
                </a:lnTo>
                <a:lnTo>
                  <a:pt x="609" y="1093"/>
                </a:lnTo>
                <a:lnTo>
                  <a:pt x="607" y="1083"/>
                </a:lnTo>
                <a:lnTo>
                  <a:pt x="601" y="1067"/>
                </a:lnTo>
                <a:lnTo>
                  <a:pt x="596" y="1049"/>
                </a:lnTo>
                <a:lnTo>
                  <a:pt x="587" y="1027"/>
                </a:lnTo>
                <a:lnTo>
                  <a:pt x="576" y="1000"/>
                </a:lnTo>
                <a:lnTo>
                  <a:pt x="562" y="970"/>
                </a:lnTo>
                <a:lnTo>
                  <a:pt x="545" y="938"/>
                </a:lnTo>
                <a:lnTo>
                  <a:pt x="537" y="921"/>
                </a:lnTo>
                <a:lnTo>
                  <a:pt x="527" y="904"/>
                </a:lnTo>
                <a:lnTo>
                  <a:pt x="515" y="887"/>
                </a:lnTo>
                <a:lnTo>
                  <a:pt x="504" y="869"/>
                </a:lnTo>
                <a:lnTo>
                  <a:pt x="492" y="851"/>
                </a:lnTo>
                <a:lnTo>
                  <a:pt x="479" y="835"/>
                </a:lnTo>
                <a:lnTo>
                  <a:pt x="472" y="826"/>
                </a:lnTo>
                <a:lnTo>
                  <a:pt x="465" y="818"/>
                </a:lnTo>
                <a:lnTo>
                  <a:pt x="451" y="801"/>
                </a:lnTo>
                <a:lnTo>
                  <a:pt x="435" y="786"/>
                </a:lnTo>
                <a:lnTo>
                  <a:pt x="419" y="770"/>
                </a:lnTo>
                <a:lnTo>
                  <a:pt x="403" y="755"/>
                </a:lnTo>
                <a:lnTo>
                  <a:pt x="385" y="742"/>
                </a:lnTo>
                <a:lnTo>
                  <a:pt x="375" y="735"/>
                </a:lnTo>
                <a:lnTo>
                  <a:pt x="366" y="730"/>
                </a:lnTo>
                <a:lnTo>
                  <a:pt x="347" y="718"/>
                </a:lnTo>
                <a:lnTo>
                  <a:pt x="326" y="708"/>
                </a:lnTo>
                <a:lnTo>
                  <a:pt x="316" y="703"/>
                </a:lnTo>
                <a:lnTo>
                  <a:pt x="305" y="699"/>
                </a:lnTo>
                <a:lnTo>
                  <a:pt x="294" y="694"/>
                </a:lnTo>
                <a:lnTo>
                  <a:pt x="283" y="691"/>
                </a:lnTo>
                <a:lnTo>
                  <a:pt x="260" y="685"/>
                </a:lnTo>
                <a:lnTo>
                  <a:pt x="254" y="684"/>
                </a:lnTo>
                <a:lnTo>
                  <a:pt x="254" y="1093"/>
                </a:lnTo>
                <a:lnTo>
                  <a:pt x="0" y="1093"/>
                </a:lnTo>
                <a:lnTo>
                  <a:pt x="0" y="556"/>
                </a:lnTo>
                <a:lnTo>
                  <a:pt x="0" y="20"/>
                </a:lnTo>
                <a:lnTo>
                  <a:pt x="254" y="20"/>
                </a:lnTo>
                <a:lnTo>
                  <a:pt x="254" y="405"/>
                </a:lnTo>
                <a:close/>
                <a:moveTo>
                  <a:pt x="3423" y="367"/>
                </a:moveTo>
                <a:lnTo>
                  <a:pt x="3423" y="1093"/>
                </a:lnTo>
                <a:lnTo>
                  <a:pt x="3168" y="1093"/>
                </a:lnTo>
                <a:lnTo>
                  <a:pt x="3168" y="363"/>
                </a:lnTo>
                <a:lnTo>
                  <a:pt x="3168" y="349"/>
                </a:lnTo>
                <a:lnTo>
                  <a:pt x="3166" y="336"/>
                </a:lnTo>
                <a:lnTo>
                  <a:pt x="3162" y="324"/>
                </a:lnTo>
                <a:lnTo>
                  <a:pt x="3161" y="318"/>
                </a:lnTo>
                <a:lnTo>
                  <a:pt x="3159" y="312"/>
                </a:lnTo>
                <a:lnTo>
                  <a:pt x="3153" y="301"/>
                </a:lnTo>
                <a:lnTo>
                  <a:pt x="3147" y="290"/>
                </a:lnTo>
                <a:lnTo>
                  <a:pt x="3140" y="280"/>
                </a:lnTo>
                <a:lnTo>
                  <a:pt x="3132" y="271"/>
                </a:lnTo>
                <a:lnTo>
                  <a:pt x="3123" y="263"/>
                </a:lnTo>
                <a:lnTo>
                  <a:pt x="3114" y="257"/>
                </a:lnTo>
                <a:lnTo>
                  <a:pt x="3109" y="253"/>
                </a:lnTo>
                <a:lnTo>
                  <a:pt x="3104" y="250"/>
                </a:lnTo>
                <a:lnTo>
                  <a:pt x="3093" y="245"/>
                </a:lnTo>
                <a:lnTo>
                  <a:pt x="3088" y="242"/>
                </a:lnTo>
                <a:lnTo>
                  <a:pt x="3082" y="241"/>
                </a:lnTo>
                <a:lnTo>
                  <a:pt x="3070" y="238"/>
                </a:lnTo>
                <a:lnTo>
                  <a:pt x="3058" y="236"/>
                </a:lnTo>
                <a:lnTo>
                  <a:pt x="3045" y="236"/>
                </a:lnTo>
                <a:lnTo>
                  <a:pt x="3033" y="236"/>
                </a:lnTo>
                <a:lnTo>
                  <a:pt x="3021" y="238"/>
                </a:lnTo>
                <a:lnTo>
                  <a:pt x="3008" y="241"/>
                </a:lnTo>
                <a:lnTo>
                  <a:pt x="2997" y="246"/>
                </a:lnTo>
                <a:lnTo>
                  <a:pt x="2992" y="248"/>
                </a:lnTo>
                <a:lnTo>
                  <a:pt x="2986" y="251"/>
                </a:lnTo>
                <a:lnTo>
                  <a:pt x="2976" y="258"/>
                </a:lnTo>
                <a:lnTo>
                  <a:pt x="2972" y="261"/>
                </a:lnTo>
                <a:lnTo>
                  <a:pt x="2967" y="265"/>
                </a:lnTo>
                <a:lnTo>
                  <a:pt x="2958" y="274"/>
                </a:lnTo>
                <a:lnTo>
                  <a:pt x="2950" y="282"/>
                </a:lnTo>
                <a:lnTo>
                  <a:pt x="2946" y="287"/>
                </a:lnTo>
                <a:lnTo>
                  <a:pt x="2943" y="292"/>
                </a:lnTo>
                <a:lnTo>
                  <a:pt x="2937" y="304"/>
                </a:lnTo>
                <a:lnTo>
                  <a:pt x="2931" y="315"/>
                </a:lnTo>
                <a:lnTo>
                  <a:pt x="2929" y="320"/>
                </a:lnTo>
                <a:lnTo>
                  <a:pt x="2927" y="326"/>
                </a:lnTo>
                <a:lnTo>
                  <a:pt x="2924" y="339"/>
                </a:lnTo>
                <a:lnTo>
                  <a:pt x="2923" y="351"/>
                </a:lnTo>
                <a:lnTo>
                  <a:pt x="2921" y="358"/>
                </a:lnTo>
                <a:lnTo>
                  <a:pt x="2921" y="365"/>
                </a:lnTo>
                <a:lnTo>
                  <a:pt x="2921" y="1093"/>
                </a:lnTo>
                <a:lnTo>
                  <a:pt x="2669" y="1093"/>
                </a:lnTo>
                <a:lnTo>
                  <a:pt x="2669" y="365"/>
                </a:lnTo>
                <a:lnTo>
                  <a:pt x="2669" y="351"/>
                </a:lnTo>
                <a:lnTo>
                  <a:pt x="2667" y="339"/>
                </a:lnTo>
                <a:lnTo>
                  <a:pt x="2664" y="326"/>
                </a:lnTo>
                <a:lnTo>
                  <a:pt x="2663" y="320"/>
                </a:lnTo>
                <a:lnTo>
                  <a:pt x="2660" y="315"/>
                </a:lnTo>
                <a:lnTo>
                  <a:pt x="2655" y="304"/>
                </a:lnTo>
                <a:lnTo>
                  <a:pt x="2648" y="292"/>
                </a:lnTo>
                <a:lnTo>
                  <a:pt x="2641" y="282"/>
                </a:lnTo>
                <a:lnTo>
                  <a:pt x="2637" y="278"/>
                </a:lnTo>
                <a:lnTo>
                  <a:pt x="2634" y="274"/>
                </a:lnTo>
                <a:lnTo>
                  <a:pt x="2629" y="269"/>
                </a:lnTo>
                <a:lnTo>
                  <a:pt x="2625" y="265"/>
                </a:lnTo>
                <a:lnTo>
                  <a:pt x="2615" y="258"/>
                </a:lnTo>
                <a:lnTo>
                  <a:pt x="2605" y="251"/>
                </a:lnTo>
                <a:lnTo>
                  <a:pt x="2593" y="246"/>
                </a:lnTo>
                <a:lnTo>
                  <a:pt x="2582" y="241"/>
                </a:lnTo>
                <a:lnTo>
                  <a:pt x="2577" y="239"/>
                </a:lnTo>
                <a:lnTo>
                  <a:pt x="2571" y="238"/>
                </a:lnTo>
                <a:lnTo>
                  <a:pt x="2559" y="236"/>
                </a:lnTo>
                <a:lnTo>
                  <a:pt x="2552" y="236"/>
                </a:lnTo>
                <a:lnTo>
                  <a:pt x="2546" y="236"/>
                </a:lnTo>
                <a:lnTo>
                  <a:pt x="2533" y="236"/>
                </a:lnTo>
                <a:lnTo>
                  <a:pt x="2528" y="237"/>
                </a:lnTo>
                <a:lnTo>
                  <a:pt x="2521" y="238"/>
                </a:lnTo>
                <a:lnTo>
                  <a:pt x="2510" y="241"/>
                </a:lnTo>
                <a:lnTo>
                  <a:pt x="2499" y="245"/>
                </a:lnTo>
                <a:lnTo>
                  <a:pt x="2488" y="250"/>
                </a:lnTo>
                <a:lnTo>
                  <a:pt x="2477" y="257"/>
                </a:lnTo>
                <a:lnTo>
                  <a:pt x="2467" y="263"/>
                </a:lnTo>
                <a:lnTo>
                  <a:pt x="2460" y="271"/>
                </a:lnTo>
                <a:lnTo>
                  <a:pt x="2451" y="280"/>
                </a:lnTo>
                <a:lnTo>
                  <a:pt x="2444" y="290"/>
                </a:lnTo>
                <a:lnTo>
                  <a:pt x="2438" y="301"/>
                </a:lnTo>
                <a:lnTo>
                  <a:pt x="2433" y="312"/>
                </a:lnTo>
                <a:lnTo>
                  <a:pt x="2431" y="318"/>
                </a:lnTo>
                <a:lnTo>
                  <a:pt x="2428" y="324"/>
                </a:lnTo>
                <a:lnTo>
                  <a:pt x="2425" y="336"/>
                </a:lnTo>
                <a:lnTo>
                  <a:pt x="2424" y="349"/>
                </a:lnTo>
                <a:lnTo>
                  <a:pt x="2423" y="356"/>
                </a:lnTo>
                <a:lnTo>
                  <a:pt x="2423" y="363"/>
                </a:lnTo>
                <a:lnTo>
                  <a:pt x="2423" y="1093"/>
                </a:lnTo>
                <a:lnTo>
                  <a:pt x="2168" y="1093"/>
                </a:lnTo>
                <a:lnTo>
                  <a:pt x="2168" y="367"/>
                </a:lnTo>
                <a:lnTo>
                  <a:pt x="2168" y="348"/>
                </a:lnTo>
                <a:lnTo>
                  <a:pt x="2170" y="329"/>
                </a:lnTo>
                <a:lnTo>
                  <a:pt x="2172" y="310"/>
                </a:lnTo>
                <a:lnTo>
                  <a:pt x="2175" y="292"/>
                </a:lnTo>
                <a:lnTo>
                  <a:pt x="2179" y="275"/>
                </a:lnTo>
                <a:lnTo>
                  <a:pt x="2183" y="258"/>
                </a:lnTo>
                <a:lnTo>
                  <a:pt x="2189" y="240"/>
                </a:lnTo>
                <a:lnTo>
                  <a:pt x="2194" y="223"/>
                </a:lnTo>
                <a:lnTo>
                  <a:pt x="2201" y="208"/>
                </a:lnTo>
                <a:lnTo>
                  <a:pt x="2209" y="192"/>
                </a:lnTo>
                <a:lnTo>
                  <a:pt x="2212" y="184"/>
                </a:lnTo>
                <a:lnTo>
                  <a:pt x="2216" y="177"/>
                </a:lnTo>
                <a:lnTo>
                  <a:pt x="2225" y="161"/>
                </a:lnTo>
                <a:lnTo>
                  <a:pt x="2235" y="148"/>
                </a:lnTo>
                <a:lnTo>
                  <a:pt x="2245" y="133"/>
                </a:lnTo>
                <a:lnTo>
                  <a:pt x="2258" y="120"/>
                </a:lnTo>
                <a:lnTo>
                  <a:pt x="2269" y="108"/>
                </a:lnTo>
                <a:lnTo>
                  <a:pt x="2281" y="95"/>
                </a:lnTo>
                <a:lnTo>
                  <a:pt x="2288" y="90"/>
                </a:lnTo>
                <a:lnTo>
                  <a:pt x="2295" y="83"/>
                </a:lnTo>
                <a:lnTo>
                  <a:pt x="2309" y="73"/>
                </a:lnTo>
                <a:lnTo>
                  <a:pt x="2324" y="63"/>
                </a:lnTo>
                <a:lnTo>
                  <a:pt x="2339" y="53"/>
                </a:lnTo>
                <a:lnTo>
                  <a:pt x="2355" y="44"/>
                </a:lnTo>
                <a:lnTo>
                  <a:pt x="2371" y="36"/>
                </a:lnTo>
                <a:lnTo>
                  <a:pt x="2389" y="29"/>
                </a:lnTo>
                <a:lnTo>
                  <a:pt x="2407" y="22"/>
                </a:lnTo>
                <a:lnTo>
                  <a:pt x="2425" y="16"/>
                </a:lnTo>
                <a:lnTo>
                  <a:pt x="2445" y="12"/>
                </a:lnTo>
                <a:lnTo>
                  <a:pt x="2464" y="7"/>
                </a:lnTo>
                <a:lnTo>
                  <a:pt x="2485" y="4"/>
                </a:lnTo>
                <a:lnTo>
                  <a:pt x="2506" y="2"/>
                </a:lnTo>
                <a:lnTo>
                  <a:pt x="2528" y="1"/>
                </a:lnTo>
                <a:lnTo>
                  <a:pt x="2550" y="1"/>
                </a:lnTo>
                <a:lnTo>
                  <a:pt x="2569" y="1"/>
                </a:lnTo>
                <a:lnTo>
                  <a:pt x="2588" y="2"/>
                </a:lnTo>
                <a:lnTo>
                  <a:pt x="2606" y="4"/>
                </a:lnTo>
                <a:lnTo>
                  <a:pt x="2624" y="6"/>
                </a:lnTo>
                <a:lnTo>
                  <a:pt x="2640" y="10"/>
                </a:lnTo>
                <a:lnTo>
                  <a:pt x="2657" y="13"/>
                </a:lnTo>
                <a:lnTo>
                  <a:pt x="2673" y="17"/>
                </a:lnTo>
                <a:lnTo>
                  <a:pt x="2688" y="22"/>
                </a:lnTo>
                <a:lnTo>
                  <a:pt x="2704" y="28"/>
                </a:lnTo>
                <a:lnTo>
                  <a:pt x="2718" y="34"/>
                </a:lnTo>
                <a:lnTo>
                  <a:pt x="2732" y="41"/>
                </a:lnTo>
                <a:lnTo>
                  <a:pt x="2745" y="48"/>
                </a:lnTo>
                <a:lnTo>
                  <a:pt x="2759" y="55"/>
                </a:lnTo>
                <a:lnTo>
                  <a:pt x="2771" y="64"/>
                </a:lnTo>
                <a:lnTo>
                  <a:pt x="2782" y="72"/>
                </a:lnTo>
                <a:lnTo>
                  <a:pt x="2793" y="82"/>
                </a:lnTo>
                <a:lnTo>
                  <a:pt x="2799" y="82"/>
                </a:lnTo>
                <a:lnTo>
                  <a:pt x="2810" y="72"/>
                </a:lnTo>
                <a:lnTo>
                  <a:pt x="2822" y="64"/>
                </a:lnTo>
                <a:lnTo>
                  <a:pt x="2834" y="55"/>
                </a:lnTo>
                <a:lnTo>
                  <a:pt x="2847" y="48"/>
                </a:lnTo>
                <a:lnTo>
                  <a:pt x="2860" y="41"/>
                </a:lnTo>
                <a:lnTo>
                  <a:pt x="2873" y="34"/>
                </a:lnTo>
                <a:lnTo>
                  <a:pt x="2888" y="28"/>
                </a:lnTo>
                <a:lnTo>
                  <a:pt x="2904" y="22"/>
                </a:lnTo>
                <a:lnTo>
                  <a:pt x="2918" y="17"/>
                </a:lnTo>
                <a:lnTo>
                  <a:pt x="2935" y="13"/>
                </a:lnTo>
                <a:lnTo>
                  <a:pt x="2952" y="10"/>
                </a:lnTo>
                <a:lnTo>
                  <a:pt x="2968" y="6"/>
                </a:lnTo>
                <a:lnTo>
                  <a:pt x="2986" y="4"/>
                </a:lnTo>
                <a:lnTo>
                  <a:pt x="3004" y="2"/>
                </a:lnTo>
                <a:lnTo>
                  <a:pt x="3023" y="1"/>
                </a:lnTo>
                <a:lnTo>
                  <a:pt x="3042" y="1"/>
                </a:lnTo>
                <a:lnTo>
                  <a:pt x="3064" y="1"/>
                </a:lnTo>
                <a:lnTo>
                  <a:pt x="3085" y="2"/>
                </a:lnTo>
                <a:lnTo>
                  <a:pt x="3107" y="4"/>
                </a:lnTo>
                <a:lnTo>
                  <a:pt x="3127" y="7"/>
                </a:lnTo>
                <a:lnTo>
                  <a:pt x="3147" y="12"/>
                </a:lnTo>
                <a:lnTo>
                  <a:pt x="3166" y="16"/>
                </a:lnTo>
                <a:lnTo>
                  <a:pt x="3175" y="20"/>
                </a:lnTo>
                <a:lnTo>
                  <a:pt x="3185" y="22"/>
                </a:lnTo>
                <a:lnTo>
                  <a:pt x="3203" y="29"/>
                </a:lnTo>
                <a:lnTo>
                  <a:pt x="3219" y="36"/>
                </a:lnTo>
                <a:lnTo>
                  <a:pt x="3236" y="44"/>
                </a:lnTo>
                <a:lnTo>
                  <a:pt x="3253" y="53"/>
                </a:lnTo>
                <a:lnTo>
                  <a:pt x="3267" y="63"/>
                </a:lnTo>
                <a:lnTo>
                  <a:pt x="3283" y="73"/>
                </a:lnTo>
                <a:lnTo>
                  <a:pt x="3296" y="83"/>
                </a:lnTo>
                <a:lnTo>
                  <a:pt x="3310" y="95"/>
                </a:lnTo>
                <a:lnTo>
                  <a:pt x="3322" y="108"/>
                </a:lnTo>
                <a:lnTo>
                  <a:pt x="3334" y="120"/>
                </a:lnTo>
                <a:lnTo>
                  <a:pt x="3345" y="133"/>
                </a:lnTo>
                <a:lnTo>
                  <a:pt x="3355" y="148"/>
                </a:lnTo>
                <a:lnTo>
                  <a:pt x="3365" y="161"/>
                </a:lnTo>
                <a:lnTo>
                  <a:pt x="3374" y="177"/>
                </a:lnTo>
                <a:lnTo>
                  <a:pt x="3383" y="192"/>
                </a:lnTo>
                <a:lnTo>
                  <a:pt x="3390" y="208"/>
                </a:lnTo>
                <a:lnTo>
                  <a:pt x="3397" y="223"/>
                </a:lnTo>
                <a:lnTo>
                  <a:pt x="3403" y="240"/>
                </a:lnTo>
                <a:lnTo>
                  <a:pt x="3408" y="258"/>
                </a:lnTo>
                <a:lnTo>
                  <a:pt x="3412" y="275"/>
                </a:lnTo>
                <a:lnTo>
                  <a:pt x="3417" y="292"/>
                </a:lnTo>
                <a:lnTo>
                  <a:pt x="3419" y="310"/>
                </a:lnTo>
                <a:lnTo>
                  <a:pt x="3421" y="329"/>
                </a:lnTo>
                <a:lnTo>
                  <a:pt x="3422" y="348"/>
                </a:lnTo>
                <a:lnTo>
                  <a:pt x="3423" y="367"/>
                </a:lnTo>
                <a:close/>
                <a:moveTo>
                  <a:pt x="4521" y="364"/>
                </a:moveTo>
                <a:lnTo>
                  <a:pt x="4521" y="1093"/>
                </a:lnTo>
                <a:lnTo>
                  <a:pt x="4264" y="1093"/>
                </a:lnTo>
                <a:lnTo>
                  <a:pt x="4264" y="360"/>
                </a:lnTo>
                <a:lnTo>
                  <a:pt x="4264" y="343"/>
                </a:lnTo>
                <a:lnTo>
                  <a:pt x="4266" y="324"/>
                </a:lnTo>
                <a:lnTo>
                  <a:pt x="4268" y="306"/>
                </a:lnTo>
                <a:lnTo>
                  <a:pt x="4270" y="288"/>
                </a:lnTo>
                <a:lnTo>
                  <a:pt x="4274" y="270"/>
                </a:lnTo>
                <a:lnTo>
                  <a:pt x="4279" y="253"/>
                </a:lnTo>
                <a:lnTo>
                  <a:pt x="4283" y="237"/>
                </a:lnTo>
                <a:lnTo>
                  <a:pt x="4290" y="220"/>
                </a:lnTo>
                <a:lnTo>
                  <a:pt x="4297" y="204"/>
                </a:lnTo>
                <a:lnTo>
                  <a:pt x="4300" y="196"/>
                </a:lnTo>
                <a:lnTo>
                  <a:pt x="4303" y="189"/>
                </a:lnTo>
                <a:lnTo>
                  <a:pt x="4312" y="173"/>
                </a:lnTo>
                <a:lnTo>
                  <a:pt x="4321" y="159"/>
                </a:lnTo>
                <a:lnTo>
                  <a:pt x="4330" y="144"/>
                </a:lnTo>
                <a:lnTo>
                  <a:pt x="4341" y="131"/>
                </a:lnTo>
                <a:lnTo>
                  <a:pt x="4353" y="118"/>
                </a:lnTo>
                <a:lnTo>
                  <a:pt x="4364" y="105"/>
                </a:lnTo>
                <a:lnTo>
                  <a:pt x="4377" y="93"/>
                </a:lnTo>
                <a:lnTo>
                  <a:pt x="4389" y="82"/>
                </a:lnTo>
                <a:lnTo>
                  <a:pt x="4404" y="71"/>
                </a:lnTo>
                <a:lnTo>
                  <a:pt x="4418" y="61"/>
                </a:lnTo>
                <a:lnTo>
                  <a:pt x="4434" y="52"/>
                </a:lnTo>
                <a:lnTo>
                  <a:pt x="4450" y="43"/>
                </a:lnTo>
                <a:lnTo>
                  <a:pt x="4466" y="35"/>
                </a:lnTo>
                <a:lnTo>
                  <a:pt x="4483" y="29"/>
                </a:lnTo>
                <a:lnTo>
                  <a:pt x="4502" y="22"/>
                </a:lnTo>
                <a:lnTo>
                  <a:pt x="4520" y="16"/>
                </a:lnTo>
                <a:lnTo>
                  <a:pt x="4539" y="12"/>
                </a:lnTo>
                <a:lnTo>
                  <a:pt x="4559" y="7"/>
                </a:lnTo>
                <a:lnTo>
                  <a:pt x="4579" y="4"/>
                </a:lnTo>
                <a:lnTo>
                  <a:pt x="4600" y="2"/>
                </a:lnTo>
                <a:lnTo>
                  <a:pt x="4621" y="1"/>
                </a:lnTo>
                <a:lnTo>
                  <a:pt x="4644" y="1"/>
                </a:lnTo>
                <a:lnTo>
                  <a:pt x="4667" y="1"/>
                </a:lnTo>
                <a:lnTo>
                  <a:pt x="4689" y="3"/>
                </a:lnTo>
                <a:lnTo>
                  <a:pt x="4711" y="5"/>
                </a:lnTo>
                <a:lnTo>
                  <a:pt x="4732" y="7"/>
                </a:lnTo>
                <a:lnTo>
                  <a:pt x="4752" y="12"/>
                </a:lnTo>
                <a:lnTo>
                  <a:pt x="4771" y="16"/>
                </a:lnTo>
                <a:lnTo>
                  <a:pt x="4789" y="22"/>
                </a:lnTo>
                <a:lnTo>
                  <a:pt x="4807" y="28"/>
                </a:lnTo>
                <a:lnTo>
                  <a:pt x="4823" y="34"/>
                </a:lnTo>
                <a:lnTo>
                  <a:pt x="4839" y="41"/>
                </a:lnTo>
                <a:lnTo>
                  <a:pt x="4855" y="49"/>
                </a:lnTo>
                <a:lnTo>
                  <a:pt x="4869" y="58"/>
                </a:lnTo>
                <a:lnTo>
                  <a:pt x="4882" y="66"/>
                </a:lnTo>
                <a:lnTo>
                  <a:pt x="4895" y="76"/>
                </a:lnTo>
                <a:lnTo>
                  <a:pt x="4907" y="87"/>
                </a:lnTo>
                <a:lnTo>
                  <a:pt x="4919" y="98"/>
                </a:lnTo>
                <a:lnTo>
                  <a:pt x="4930" y="109"/>
                </a:lnTo>
                <a:lnTo>
                  <a:pt x="4940" y="120"/>
                </a:lnTo>
                <a:lnTo>
                  <a:pt x="4949" y="132"/>
                </a:lnTo>
                <a:lnTo>
                  <a:pt x="4958" y="145"/>
                </a:lnTo>
                <a:lnTo>
                  <a:pt x="4967" y="158"/>
                </a:lnTo>
                <a:lnTo>
                  <a:pt x="4975" y="171"/>
                </a:lnTo>
                <a:lnTo>
                  <a:pt x="4982" y="186"/>
                </a:lnTo>
                <a:lnTo>
                  <a:pt x="4988" y="199"/>
                </a:lnTo>
                <a:lnTo>
                  <a:pt x="4994" y="213"/>
                </a:lnTo>
                <a:lnTo>
                  <a:pt x="5000" y="228"/>
                </a:lnTo>
                <a:lnTo>
                  <a:pt x="5004" y="243"/>
                </a:lnTo>
                <a:lnTo>
                  <a:pt x="5007" y="258"/>
                </a:lnTo>
                <a:lnTo>
                  <a:pt x="5012" y="274"/>
                </a:lnTo>
                <a:lnTo>
                  <a:pt x="5014" y="289"/>
                </a:lnTo>
                <a:lnTo>
                  <a:pt x="5016" y="305"/>
                </a:lnTo>
                <a:lnTo>
                  <a:pt x="5019" y="321"/>
                </a:lnTo>
                <a:lnTo>
                  <a:pt x="5020" y="336"/>
                </a:lnTo>
                <a:lnTo>
                  <a:pt x="4764" y="336"/>
                </a:lnTo>
                <a:lnTo>
                  <a:pt x="4762" y="325"/>
                </a:lnTo>
                <a:lnTo>
                  <a:pt x="4760" y="316"/>
                </a:lnTo>
                <a:lnTo>
                  <a:pt x="4756" y="307"/>
                </a:lnTo>
                <a:lnTo>
                  <a:pt x="4753" y="299"/>
                </a:lnTo>
                <a:lnTo>
                  <a:pt x="4749" y="291"/>
                </a:lnTo>
                <a:lnTo>
                  <a:pt x="4743" y="284"/>
                </a:lnTo>
                <a:lnTo>
                  <a:pt x="4737" y="276"/>
                </a:lnTo>
                <a:lnTo>
                  <a:pt x="4734" y="272"/>
                </a:lnTo>
                <a:lnTo>
                  <a:pt x="4731" y="269"/>
                </a:lnTo>
                <a:lnTo>
                  <a:pt x="4723" y="262"/>
                </a:lnTo>
                <a:lnTo>
                  <a:pt x="4715" y="257"/>
                </a:lnTo>
                <a:lnTo>
                  <a:pt x="4707" y="251"/>
                </a:lnTo>
                <a:lnTo>
                  <a:pt x="4698" y="247"/>
                </a:lnTo>
                <a:lnTo>
                  <a:pt x="4688" y="242"/>
                </a:lnTo>
                <a:lnTo>
                  <a:pt x="4678" y="240"/>
                </a:lnTo>
                <a:lnTo>
                  <a:pt x="4667" y="238"/>
                </a:lnTo>
                <a:lnTo>
                  <a:pt x="4656" y="236"/>
                </a:lnTo>
                <a:lnTo>
                  <a:pt x="4644" y="236"/>
                </a:lnTo>
                <a:lnTo>
                  <a:pt x="4629" y="236"/>
                </a:lnTo>
                <a:lnTo>
                  <a:pt x="4616" y="238"/>
                </a:lnTo>
                <a:lnTo>
                  <a:pt x="4602" y="241"/>
                </a:lnTo>
                <a:lnTo>
                  <a:pt x="4597" y="243"/>
                </a:lnTo>
                <a:lnTo>
                  <a:pt x="4590" y="246"/>
                </a:lnTo>
                <a:lnTo>
                  <a:pt x="4579" y="250"/>
                </a:lnTo>
                <a:lnTo>
                  <a:pt x="4575" y="253"/>
                </a:lnTo>
                <a:lnTo>
                  <a:pt x="4569" y="257"/>
                </a:lnTo>
                <a:lnTo>
                  <a:pt x="4565" y="260"/>
                </a:lnTo>
                <a:lnTo>
                  <a:pt x="4560" y="265"/>
                </a:lnTo>
                <a:lnTo>
                  <a:pt x="4552" y="272"/>
                </a:lnTo>
                <a:lnTo>
                  <a:pt x="4544" y="281"/>
                </a:lnTo>
                <a:lnTo>
                  <a:pt x="4539" y="291"/>
                </a:lnTo>
                <a:lnTo>
                  <a:pt x="4533" y="301"/>
                </a:lnTo>
                <a:lnTo>
                  <a:pt x="4529" y="312"/>
                </a:lnTo>
                <a:lnTo>
                  <a:pt x="4527" y="319"/>
                </a:lnTo>
                <a:lnTo>
                  <a:pt x="4525" y="325"/>
                </a:lnTo>
                <a:lnTo>
                  <a:pt x="4523" y="337"/>
                </a:lnTo>
                <a:lnTo>
                  <a:pt x="4521" y="350"/>
                </a:lnTo>
                <a:lnTo>
                  <a:pt x="4521" y="364"/>
                </a:lnTo>
                <a:close/>
                <a:moveTo>
                  <a:pt x="3716" y="20"/>
                </a:moveTo>
                <a:lnTo>
                  <a:pt x="3972" y="20"/>
                </a:lnTo>
                <a:lnTo>
                  <a:pt x="3972" y="556"/>
                </a:lnTo>
                <a:lnTo>
                  <a:pt x="3972" y="1093"/>
                </a:lnTo>
                <a:lnTo>
                  <a:pt x="3716" y="1093"/>
                </a:lnTo>
                <a:lnTo>
                  <a:pt x="3716" y="556"/>
                </a:lnTo>
                <a:lnTo>
                  <a:pt x="3716" y="2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emira">
  <a:themeElements>
    <a:clrScheme name="KEMIRA NEW 2018">
      <a:dk1>
        <a:srgbClr val="322D2D"/>
      </a:dk1>
      <a:lt1>
        <a:sysClr val="window" lastClr="FFFFFF"/>
      </a:lt1>
      <a:dk2>
        <a:srgbClr val="005BBE"/>
      </a:dk2>
      <a:lt2>
        <a:srgbClr val="F5F0ED"/>
      </a:lt2>
      <a:accent1>
        <a:srgbClr val="96BEF0"/>
      </a:accent1>
      <a:accent2>
        <a:srgbClr val="C8DCF5"/>
      </a:accent2>
      <a:accent3>
        <a:srgbClr val="9BAABE"/>
      </a:accent3>
      <a:accent4>
        <a:srgbClr val="BED7D7"/>
      </a:accent4>
      <a:accent5>
        <a:srgbClr val="F5AAAF"/>
      </a:accent5>
      <a:accent6>
        <a:srgbClr val="E6E1DC"/>
      </a:accent6>
      <a:hlink>
        <a:srgbClr val="005BBE"/>
      </a:hlink>
      <a:folHlink>
        <a:srgbClr val="005BBE"/>
      </a:folHlink>
    </a:clrScheme>
    <a:fontScheme name="Kekkilä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kemira" id="{6CBC20A3-9376-4479-9C23-4AFB7D4C137B}" vid="{83CE4FF3-FFAB-4AE0-9309-69B662BD785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0F30A7841497A47B1478FC26DE61B18" ma:contentTypeVersion="19" ma:contentTypeDescription="Create a new document." ma:contentTypeScope="" ma:versionID="8d870040f94f200a62b6958a0bf63771">
  <xsd:schema xmlns:xsd="http://www.w3.org/2001/XMLSchema" xmlns:xs="http://www.w3.org/2001/XMLSchema" xmlns:p="http://schemas.microsoft.com/office/2006/metadata/properties" xmlns:ns2="e0e2af31-ba51-49b8-9dbc-f260811fc49f" xmlns:ns3="b636d4e7-161c-42a6-835c-6bf48e893b1d" xmlns:ns4="d5e24b7e-5d10-42bd-9857-318637aac796" targetNamespace="http://schemas.microsoft.com/office/2006/metadata/properties" ma:root="true" ma:fieldsID="b76b8691813f3979d2844ba34b5539b3" ns2:_="" ns3:_="" ns4:_="">
    <xsd:import namespace="e0e2af31-ba51-49b8-9dbc-f260811fc49f"/>
    <xsd:import namespace="b636d4e7-161c-42a6-835c-6bf48e893b1d"/>
    <xsd:import namespace="d5e24b7e-5d10-42bd-9857-318637aac796"/>
    <xsd:element name="properties">
      <xsd:complexType>
        <xsd:sequence>
          <xsd:element name="documentManagement">
            <xsd:complexType>
              <xsd:all>
                <xsd:element ref="ns2:TaxKeywordTaxHTField" minOccurs="0"/>
                <xsd:element ref="ns3:TaxCatchAll" minOccurs="0"/>
                <xsd:element ref="ns4:MediaServiceMetadata" minOccurs="0"/>
                <xsd:element ref="ns4:MediaServiceFastMetadata" minOccurs="0"/>
                <xsd:element ref="ns2:SharedWithUsers" minOccurs="0"/>
                <xsd:element ref="ns2:SharedWithDetails" minOccurs="0"/>
                <xsd:element ref="ns4:lcf76f155ced4ddcb4097134ff3c332f" minOccurs="0"/>
                <xsd:element ref="ns4:MediaServiceDateTaken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LengthInSeconds" minOccurs="0"/>
                <xsd:element ref="ns4:MediaServiceObjectDetectorVersions" minOccurs="0"/>
                <xsd:element ref="ns4:MediaServiceLocation" minOccurs="0"/>
                <xsd:element ref="ns4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e2af31-ba51-49b8-9dbc-f260811fc49f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9" nillable="true" ma:taxonomy="true" ma:internalName="TaxKeywordTaxHTField" ma:taxonomyFieldName="TaxKeyword" ma:displayName="Enterprise Keywords" ma:fieldId="{23f27201-bee3-471e-b2e7-b64fd8b7ca38}" ma:taxonomyMulti="true" ma:sspId="9e365be0-9909-497c-b427-6f73a27e41eb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636d4e7-161c-42a6-835c-6bf48e893b1d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13f8a7a7-332c-4fe0-a829-3abae0a4fd95}" ma:internalName="TaxCatchAll" ma:showField="CatchAllData" ma:web="e0e2af31-ba51-49b8-9dbc-f260811fc49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e24b7e-5d10-42bd-9857-318637aac79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9e365be0-9909-497c-b427-6f73a27e41e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haredContentType xmlns="Microsoft.SharePoint.Taxonomy.ContentTypeSync" SourceId="9e365be0-9909-497c-b427-6f73a27e41eb" ContentTypeId="0x0101" PreviousValue="false"/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5e24b7e-5d10-42bd-9857-318637aac796">
      <Terms xmlns="http://schemas.microsoft.com/office/infopath/2007/PartnerControls"/>
    </lcf76f155ced4ddcb4097134ff3c332f>
    <TaxKeywordTaxHTField xmlns="e0e2af31-ba51-49b8-9dbc-f260811fc49f">
      <Terms xmlns="http://schemas.microsoft.com/office/infopath/2007/PartnerControls"/>
    </TaxKeywordTaxHTField>
    <TaxCatchAll xmlns="b636d4e7-161c-42a6-835c-6bf48e893b1d" xsi:nil="true"/>
  </documentManagement>
</p:properties>
</file>

<file path=customXml/itemProps1.xml><?xml version="1.0" encoding="utf-8"?>
<ds:datastoreItem xmlns:ds="http://schemas.openxmlformats.org/officeDocument/2006/customXml" ds:itemID="{502C7FA2-FA94-45B9-9F2E-760C3F54D37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0e2af31-ba51-49b8-9dbc-f260811fc49f"/>
    <ds:schemaRef ds:uri="b636d4e7-161c-42a6-835c-6bf48e893b1d"/>
    <ds:schemaRef ds:uri="d5e24b7e-5d10-42bd-9857-318637aac79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2E16B59-05EF-4608-A6EA-BABE38C58267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6E8C9293-8738-4953-B81A-2494B3194FF3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AEB8720A-E227-4446-9A26-E3692A19770E}">
  <ds:schemaRefs>
    <ds:schemaRef ds:uri="http://purl.org/dc/dcmitype/"/>
    <ds:schemaRef ds:uri="d5e24b7e-5d10-42bd-9857-318637aac796"/>
    <ds:schemaRef ds:uri="http://www.w3.org/XML/1998/namespace"/>
    <ds:schemaRef ds:uri="e0e2af31-ba51-49b8-9dbc-f260811fc49f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b636d4e7-161c-42a6-835c-6bf48e893b1d"/>
    <ds:schemaRef ds:uri="http://schemas.openxmlformats.org/package/2006/metadata/core-properties"/>
    <ds:schemaRef ds:uri="http://schemas.microsoft.com/office/2006/metadata/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600</Words>
  <Application>Microsoft Office PowerPoint</Application>
  <PresentationFormat>Custom</PresentationFormat>
  <Paragraphs>5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kkurat LL</vt:lpstr>
      <vt:lpstr>Arial</vt:lpstr>
      <vt:lpstr>Calibri</vt:lpstr>
      <vt:lpstr>Times New Roman</vt:lpstr>
      <vt:lpstr>kemira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a Simoes</dc:creator>
  <cp:lastModifiedBy>Alicja Artwińska</cp:lastModifiedBy>
  <cp:revision>4</cp:revision>
  <dcterms:created xsi:type="dcterms:W3CDTF">2024-02-13T18:59:19Z</dcterms:created>
  <dcterms:modified xsi:type="dcterms:W3CDTF">2025-05-22T14:22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0F30A7841497A47B1478FC26DE61B18</vt:lpwstr>
  </property>
  <property fmtid="{D5CDD505-2E9C-101B-9397-08002B2CF9AE}" pid="3" name="TaxKeyword">
    <vt:lpwstr/>
  </property>
  <property fmtid="{D5CDD505-2E9C-101B-9397-08002B2CF9AE}" pid="4" name="MediaServiceImageTags">
    <vt:lpwstr/>
  </property>
</Properties>
</file>